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64" r:id="rId1"/>
    <p:sldMasterId id="2147483681" r:id="rId2"/>
  </p:sldMasterIdLst>
  <p:notesMasterIdLst>
    <p:notesMasterId r:id="rId106"/>
  </p:notesMasterIdLst>
  <p:sldIdLst>
    <p:sldId id="256" r:id="rId3"/>
    <p:sldId id="883" r:id="rId4"/>
    <p:sldId id="343" r:id="rId5"/>
    <p:sldId id="898" r:id="rId6"/>
    <p:sldId id="899" r:id="rId7"/>
    <p:sldId id="410" r:id="rId8"/>
    <p:sldId id="902" r:id="rId9"/>
    <p:sldId id="257" r:id="rId10"/>
    <p:sldId id="884" r:id="rId11"/>
    <p:sldId id="344" r:id="rId12"/>
    <p:sldId id="877" r:id="rId13"/>
    <p:sldId id="331" r:id="rId14"/>
    <p:sldId id="345" r:id="rId15"/>
    <p:sldId id="886" r:id="rId16"/>
    <p:sldId id="333" r:id="rId17"/>
    <p:sldId id="885" r:id="rId18"/>
    <p:sldId id="843" r:id="rId19"/>
    <p:sldId id="894" r:id="rId20"/>
    <p:sldId id="867" r:id="rId21"/>
    <p:sldId id="834" r:id="rId22"/>
    <p:sldId id="335" r:id="rId23"/>
    <p:sldId id="869" r:id="rId24"/>
    <p:sldId id="887" r:id="rId25"/>
    <p:sldId id="895" r:id="rId26"/>
    <p:sldId id="896" r:id="rId27"/>
    <p:sldId id="897" r:id="rId28"/>
    <p:sldId id="871" r:id="rId29"/>
    <p:sldId id="878" r:id="rId30"/>
    <p:sldId id="258" r:id="rId31"/>
    <p:sldId id="882" r:id="rId32"/>
    <p:sldId id="259" r:id="rId33"/>
    <p:sldId id="266" r:id="rId34"/>
    <p:sldId id="260" r:id="rId35"/>
    <p:sldId id="261" r:id="rId36"/>
    <p:sldId id="262" r:id="rId37"/>
    <p:sldId id="265" r:id="rId38"/>
    <p:sldId id="267" r:id="rId39"/>
    <p:sldId id="268" r:id="rId40"/>
    <p:sldId id="271" r:id="rId41"/>
    <p:sldId id="341" r:id="rId42"/>
    <p:sldId id="272" r:id="rId43"/>
    <p:sldId id="263" r:id="rId44"/>
    <p:sldId id="269" r:id="rId45"/>
    <p:sldId id="270" r:id="rId46"/>
    <p:sldId id="273" r:id="rId47"/>
    <p:sldId id="874" r:id="rId48"/>
    <p:sldId id="276" r:id="rId49"/>
    <p:sldId id="277" r:id="rId50"/>
    <p:sldId id="873" r:id="rId51"/>
    <p:sldId id="278" r:id="rId52"/>
    <p:sldId id="436" r:id="rId53"/>
    <p:sldId id="280" r:id="rId54"/>
    <p:sldId id="281" r:id="rId55"/>
    <p:sldId id="282" r:id="rId56"/>
    <p:sldId id="283" r:id="rId57"/>
    <p:sldId id="284" r:id="rId58"/>
    <p:sldId id="285" r:id="rId59"/>
    <p:sldId id="286" r:id="rId60"/>
    <p:sldId id="287" r:id="rId61"/>
    <p:sldId id="288" r:id="rId62"/>
    <p:sldId id="290" r:id="rId63"/>
    <p:sldId id="292" r:id="rId64"/>
    <p:sldId id="295" r:id="rId65"/>
    <p:sldId id="294" r:id="rId66"/>
    <p:sldId id="296" r:id="rId67"/>
    <p:sldId id="297" r:id="rId68"/>
    <p:sldId id="298" r:id="rId69"/>
    <p:sldId id="304" r:id="rId70"/>
    <p:sldId id="274" r:id="rId71"/>
    <p:sldId id="888" r:id="rId72"/>
    <p:sldId id="893" r:id="rId73"/>
    <p:sldId id="305" r:id="rId74"/>
    <p:sldId id="302" r:id="rId75"/>
    <p:sldId id="303" r:id="rId76"/>
    <p:sldId id="306" r:id="rId77"/>
    <p:sldId id="329" r:id="rId78"/>
    <p:sldId id="307" r:id="rId79"/>
    <p:sldId id="308" r:id="rId80"/>
    <p:sldId id="309" r:id="rId81"/>
    <p:sldId id="310" r:id="rId82"/>
    <p:sldId id="311" r:id="rId83"/>
    <p:sldId id="312" r:id="rId84"/>
    <p:sldId id="313" r:id="rId85"/>
    <p:sldId id="314" r:id="rId86"/>
    <p:sldId id="315" r:id="rId87"/>
    <p:sldId id="316" r:id="rId88"/>
    <p:sldId id="317" r:id="rId89"/>
    <p:sldId id="318" r:id="rId90"/>
    <p:sldId id="891" r:id="rId91"/>
    <p:sldId id="319" r:id="rId92"/>
    <p:sldId id="320" r:id="rId93"/>
    <p:sldId id="890" r:id="rId94"/>
    <p:sldId id="321" r:id="rId95"/>
    <p:sldId id="322" r:id="rId96"/>
    <p:sldId id="324" r:id="rId97"/>
    <p:sldId id="323" r:id="rId98"/>
    <p:sldId id="325" r:id="rId99"/>
    <p:sldId id="423" r:id="rId100"/>
    <p:sldId id="879" r:id="rId101"/>
    <p:sldId id="330" r:id="rId102"/>
    <p:sldId id="337" r:id="rId103"/>
    <p:sldId id="339" r:id="rId104"/>
    <p:sldId id="892" r:id="rId10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onel Maltese" initials="LM" lastIdx="1" clrIdx="0">
    <p:extLst>
      <p:ext uri="{19B8F6BF-5375-455C-9EA6-DF929625EA0E}">
        <p15:presenceInfo xmlns:p15="http://schemas.microsoft.com/office/powerpoint/2012/main" userId="d1808a76ede7401e"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405" autoAdjust="0"/>
    <p:restoredTop sz="94660"/>
  </p:normalViewPr>
  <p:slideViewPr>
    <p:cSldViewPr snapToGrid="0">
      <p:cViewPr varScale="1">
        <p:scale>
          <a:sx n="106" d="100"/>
          <a:sy n="106" d="100"/>
        </p:scale>
        <p:origin x="708"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6" Type="http://schemas.openxmlformats.org/officeDocument/2006/relationships/slide" Target="slides/slide14.xml"/><Relationship Id="rId107" Type="http://schemas.openxmlformats.org/officeDocument/2006/relationships/commentAuthors" Target="commentAuthors.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08" Type="http://schemas.openxmlformats.org/officeDocument/2006/relationships/presProps" Target="presProps.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notesMaster" Target="notesMasters/notesMaster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viewProps" Target="viewProps.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theme" Target="theme/theme1.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localhost\Users\brucecook\Dropbox%20(Personal)\SMG%20Active\SMG%20Marketing\SBI\SportAccord%20Toplines%20-%20version%202%20200416.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2015</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rth America</c:v>
                </c:pt>
                <c:pt idx="1">
                  <c:v>Asia Pacific</c:v>
                </c:pt>
                <c:pt idx="2">
                  <c:v>Europe</c:v>
                </c:pt>
                <c:pt idx="3">
                  <c:v>Latin America</c:v>
                </c:pt>
                <c:pt idx="4">
                  <c:v>Africa</c:v>
                </c:pt>
                <c:pt idx="5">
                  <c:v>Middle East</c:v>
                </c:pt>
              </c:strCache>
            </c:strRef>
          </c:cat>
          <c:val>
            <c:numRef>
              <c:f>Sheet1!$B$2:$B$7</c:f>
              <c:numCache>
                <c:formatCode>0%</c:formatCode>
                <c:ptCount val="6"/>
                <c:pt idx="0">
                  <c:v>0.61</c:v>
                </c:pt>
                <c:pt idx="1">
                  <c:v>0.68</c:v>
                </c:pt>
                <c:pt idx="2">
                  <c:v>0.64</c:v>
                </c:pt>
                <c:pt idx="3">
                  <c:v>0.75</c:v>
                </c:pt>
                <c:pt idx="4">
                  <c:v>0.68</c:v>
                </c:pt>
                <c:pt idx="5">
                  <c:v>0.71</c:v>
                </c:pt>
              </c:numCache>
            </c:numRef>
          </c:val>
          <c:extLst>
            <c:ext xmlns:c16="http://schemas.microsoft.com/office/drawing/2014/chart" uri="{C3380CC4-5D6E-409C-BE32-E72D297353CC}">
              <c16:uniqueId val="{00000000-495B-43A5-AD2D-3CBADA196BE1}"/>
            </c:ext>
          </c:extLst>
        </c:ser>
        <c:ser>
          <c:idx val="1"/>
          <c:order val="1"/>
          <c:tx>
            <c:strRef>
              <c:f>Sheet1!$C$1</c:f>
              <c:strCache>
                <c:ptCount val="1"/>
                <c:pt idx="0">
                  <c:v>2019</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rth America</c:v>
                </c:pt>
                <c:pt idx="1">
                  <c:v>Asia Pacific</c:v>
                </c:pt>
                <c:pt idx="2">
                  <c:v>Europe</c:v>
                </c:pt>
                <c:pt idx="3">
                  <c:v>Latin America</c:v>
                </c:pt>
                <c:pt idx="4">
                  <c:v>Africa</c:v>
                </c:pt>
                <c:pt idx="5">
                  <c:v>Middle East</c:v>
                </c:pt>
              </c:strCache>
            </c:strRef>
          </c:cat>
          <c:val>
            <c:numRef>
              <c:f>Sheet1!$C$2:$C$7</c:f>
              <c:numCache>
                <c:formatCode>0%</c:formatCode>
                <c:ptCount val="6"/>
                <c:pt idx="0">
                  <c:v>0.63</c:v>
                </c:pt>
                <c:pt idx="1">
                  <c:v>0.71</c:v>
                </c:pt>
                <c:pt idx="2">
                  <c:v>0.67</c:v>
                </c:pt>
                <c:pt idx="3">
                  <c:v>0.77</c:v>
                </c:pt>
                <c:pt idx="4">
                  <c:v>0.71</c:v>
                </c:pt>
                <c:pt idx="5">
                  <c:v>0.75</c:v>
                </c:pt>
              </c:numCache>
            </c:numRef>
          </c:val>
          <c:extLst>
            <c:ext xmlns:c16="http://schemas.microsoft.com/office/drawing/2014/chart" uri="{C3380CC4-5D6E-409C-BE32-E72D297353CC}">
              <c16:uniqueId val="{00000001-495B-43A5-AD2D-3CBADA196BE1}"/>
            </c:ext>
          </c:extLst>
        </c:ser>
        <c:ser>
          <c:idx val="2"/>
          <c:order val="2"/>
          <c:tx>
            <c:strRef>
              <c:f>Sheet1!$D$1</c:f>
              <c:strCache>
                <c:ptCount val="1"/>
                <c:pt idx="0">
                  <c:v>2023</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rth America</c:v>
                </c:pt>
                <c:pt idx="1">
                  <c:v>Asia Pacific</c:v>
                </c:pt>
                <c:pt idx="2">
                  <c:v>Europe</c:v>
                </c:pt>
                <c:pt idx="3">
                  <c:v>Latin America</c:v>
                </c:pt>
                <c:pt idx="4">
                  <c:v>Africa</c:v>
                </c:pt>
                <c:pt idx="5">
                  <c:v>Middle East</c:v>
                </c:pt>
              </c:strCache>
            </c:strRef>
          </c:cat>
          <c:val>
            <c:numRef>
              <c:f>Sheet1!$D$2:$D$7</c:f>
              <c:numCache>
                <c:formatCode>0%</c:formatCode>
                <c:ptCount val="6"/>
                <c:pt idx="0">
                  <c:v>0.66</c:v>
                </c:pt>
                <c:pt idx="1">
                  <c:v>0.76</c:v>
                </c:pt>
                <c:pt idx="2">
                  <c:v>0.7</c:v>
                </c:pt>
                <c:pt idx="3">
                  <c:v>0.8</c:v>
                </c:pt>
                <c:pt idx="4">
                  <c:v>0.76</c:v>
                </c:pt>
                <c:pt idx="5">
                  <c:v>0.82</c:v>
                </c:pt>
              </c:numCache>
            </c:numRef>
          </c:val>
          <c:extLst>
            <c:ext xmlns:c16="http://schemas.microsoft.com/office/drawing/2014/chart" uri="{C3380CC4-5D6E-409C-BE32-E72D297353CC}">
              <c16:uniqueId val="{00000002-495B-43A5-AD2D-3CBADA196BE1}"/>
            </c:ext>
          </c:extLst>
        </c:ser>
        <c:dLbls>
          <c:showLegendKey val="0"/>
          <c:showVal val="0"/>
          <c:showCatName val="0"/>
          <c:showSerName val="0"/>
          <c:showPercent val="0"/>
          <c:showBubbleSize val="0"/>
        </c:dLbls>
        <c:gapWidth val="219"/>
        <c:overlap val="-27"/>
        <c:axId val="556407024"/>
        <c:axId val="556408592"/>
      </c:barChart>
      <c:catAx>
        <c:axId val="556407024"/>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fr-FR"/>
          </a:p>
        </c:txPr>
        <c:crossAx val="556408592"/>
        <c:crosses val="autoZero"/>
        <c:auto val="1"/>
        <c:lblAlgn val="ctr"/>
        <c:lblOffset val="100"/>
        <c:noMultiLvlLbl val="0"/>
      </c:catAx>
      <c:valAx>
        <c:axId val="556408592"/>
        <c:scaling>
          <c:orientation val="minMax"/>
        </c:scaling>
        <c:delete val="1"/>
        <c:axPos val="l"/>
        <c:numFmt formatCode="0%" sourceLinked="1"/>
        <c:majorTickMark val="none"/>
        <c:minorTickMark val="none"/>
        <c:tickLblPos val="nextTo"/>
        <c:crossAx val="55640702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439634834341985"/>
          <c:y val="8.6707993033450045E-2"/>
          <c:w val="0.71968179072497462"/>
          <c:h val="0.82517301772100704"/>
        </c:manualLayout>
      </c:layout>
      <c:lineChart>
        <c:grouping val="standard"/>
        <c:varyColors val="0"/>
        <c:ser>
          <c:idx val="1"/>
          <c:order val="0"/>
          <c:tx>
            <c:strRef>
              <c:f>SportCal!$C$4</c:f>
              <c:strCache>
                <c:ptCount val="1"/>
                <c:pt idx="0">
                  <c:v>Financial Services</c:v>
                </c:pt>
              </c:strCache>
            </c:strRef>
          </c:tx>
          <c:spPr>
            <a:ln w="28575" cap="rnd">
              <a:solidFill>
                <a:schemeClr val="accent1"/>
              </a:solidFill>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C$5:$C$14</c:f>
              <c:numCache>
                <c:formatCode>0.00%</c:formatCode>
                <c:ptCount val="10"/>
                <c:pt idx="0">
                  <c:v>0.1366</c:v>
                </c:pt>
                <c:pt idx="1">
                  <c:v>0.1706</c:v>
                </c:pt>
                <c:pt idx="2">
                  <c:v>0.125</c:v>
                </c:pt>
                <c:pt idx="3">
                  <c:v>0.126</c:v>
                </c:pt>
                <c:pt idx="4">
                  <c:v>0.12640000000000001</c:v>
                </c:pt>
                <c:pt idx="5">
                  <c:v>0.13589999999999999</c:v>
                </c:pt>
                <c:pt idx="6">
                  <c:v>0.1024</c:v>
                </c:pt>
                <c:pt idx="7">
                  <c:v>0.1154</c:v>
                </c:pt>
                <c:pt idx="8">
                  <c:v>0.12820000000000001</c:v>
                </c:pt>
                <c:pt idx="9">
                  <c:v>0.1152</c:v>
                </c:pt>
              </c:numCache>
            </c:numRef>
          </c:val>
          <c:smooth val="0"/>
          <c:extLst>
            <c:ext xmlns:c16="http://schemas.microsoft.com/office/drawing/2014/chart" uri="{C3380CC4-5D6E-409C-BE32-E72D297353CC}">
              <c16:uniqueId val="{00000000-3195-4BE4-9CBF-0D01B9015DB9}"/>
            </c:ext>
          </c:extLst>
        </c:ser>
        <c:ser>
          <c:idx val="2"/>
          <c:order val="1"/>
          <c:tx>
            <c:strRef>
              <c:f>SportCal!$D$4</c:f>
              <c:strCache>
                <c:ptCount val="1"/>
                <c:pt idx="0">
                  <c:v>Beverages</c:v>
                </c:pt>
              </c:strCache>
            </c:strRef>
          </c:tx>
          <c:spPr>
            <a:ln w="28575" cap="rnd">
              <a:solidFill>
                <a:srgbClr val="00B050"/>
              </a:solidFill>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D$5:$D$14</c:f>
              <c:numCache>
                <c:formatCode>0.00%</c:formatCode>
                <c:ptCount val="10"/>
                <c:pt idx="0">
                  <c:v>0.11070000000000001</c:v>
                </c:pt>
                <c:pt idx="1">
                  <c:v>9.8299999999999998E-2</c:v>
                </c:pt>
                <c:pt idx="2">
                  <c:v>0.10390000000000001</c:v>
                </c:pt>
                <c:pt idx="3">
                  <c:v>9.5000000000000001E-2</c:v>
                </c:pt>
                <c:pt idx="4">
                  <c:v>8.4900000000000003E-2</c:v>
                </c:pt>
                <c:pt idx="5">
                  <c:v>9.3700000000000006E-2</c:v>
                </c:pt>
                <c:pt idx="6">
                  <c:v>9.6299999999999997E-2</c:v>
                </c:pt>
                <c:pt idx="7">
                  <c:v>0.1119</c:v>
                </c:pt>
                <c:pt idx="8">
                  <c:v>0.1069</c:v>
                </c:pt>
                <c:pt idx="9">
                  <c:v>0.1106</c:v>
                </c:pt>
              </c:numCache>
            </c:numRef>
          </c:val>
          <c:smooth val="0"/>
          <c:extLst>
            <c:ext xmlns:c16="http://schemas.microsoft.com/office/drawing/2014/chart" uri="{C3380CC4-5D6E-409C-BE32-E72D297353CC}">
              <c16:uniqueId val="{00000001-3195-4BE4-9CBF-0D01B9015DB9}"/>
            </c:ext>
          </c:extLst>
        </c:ser>
        <c:ser>
          <c:idx val="3"/>
          <c:order val="2"/>
          <c:tx>
            <c:strRef>
              <c:f>SportCal!$E$4</c:f>
              <c:strCache>
                <c:ptCount val="1"/>
                <c:pt idx="0">
                  <c:v>Automotive</c:v>
                </c:pt>
              </c:strCache>
            </c:strRef>
          </c:tx>
          <c:spPr>
            <a:ln w="28575" cap="rnd">
              <a:solidFill>
                <a:schemeClr val="tx1"/>
              </a:solidFill>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E$5:$E$14</c:f>
              <c:numCache>
                <c:formatCode>0.00%</c:formatCode>
                <c:ptCount val="10"/>
                <c:pt idx="0">
                  <c:v>0.1197</c:v>
                </c:pt>
                <c:pt idx="1">
                  <c:v>0.1159</c:v>
                </c:pt>
                <c:pt idx="2">
                  <c:v>0.12690000000000001</c:v>
                </c:pt>
                <c:pt idx="3">
                  <c:v>0.1167</c:v>
                </c:pt>
                <c:pt idx="4">
                  <c:v>0.1148</c:v>
                </c:pt>
                <c:pt idx="5">
                  <c:v>0.1241</c:v>
                </c:pt>
                <c:pt idx="6">
                  <c:v>9.8900000000000002E-2</c:v>
                </c:pt>
                <c:pt idx="7">
                  <c:v>0.1105</c:v>
                </c:pt>
                <c:pt idx="8">
                  <c:v>0.1087</c:v>
                </c:pt>
                <c:pt idx="9">
                  <c:v>0.1052</c:v>
                </c:pt>
              </c:numCache>
            </c:numRef>
          </c:val>
          <c:smooth val="0"/>
          <c:extLst>
            <c:ext xmlns:c16="http://schemas.microsoft.com/office/drawing/2014/chart" uri="{C3380CC4-5D6E-409C-BE32-E72D297353CC}">
              <c16:uniqueId val="{00000002-3195-4BE4-9CBF-0D01B9015DB9}"/>
            </c:ext>
          </c:extLst>
        </c:ser>
        <c:ser>
          <c:idx val="4"/>
          <c:order val="3"/>
          <c:tx>
            <c:strRef>
              <c:f>SportCal!$F$4</c:f>
              <c:strCache>
                <c:ptCount val="1"/>
                <c:pt idx="0">
                  <c:v>Sports Equipment</c:v>
                </c:pt>
              </c:strCache>
            </c:strRef>
          </c:tx>
          <c:spPr>
            <a:ln w="41275" cap="rnd" cmpd="dbl">
              <a:solidFill>
                <a:schemeClr val="accent4"/>
              </a:solidFill>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F$5:$F$14</c:f>
              <c:numCache>
                <c:formatCode>0.00%</c:formatCode>
                <c:ptCount val="10"/>
                <c:pt idx="0">
                  <c:v>6.0100000000000001E-2</c:v>
                </c:pt>
                <c:pt idx="1">
                  <c:v>5.7700000000000001E-2</c:v>
                </c:pt>
                <c:pt idx="2">
                  <c:v>6.7299999999999999E-2</c:v>
                </c:pt>
                <c:pt idx="3">
                  <c:v>6.1800000000000001E-2</c:v>
                </c:pt>
                <c:pt idx="4">
                  <c:v>6.1600000000000002E-2</c:v>
                </c:pt>
                <c:pt idx="5">
                  <c:v>5.9299999999999999E-2</c:v>
                </c:pt>
                <c:pt idx="6">
                  <c:v>7.6200000000000004E-2</c:v>
                </c:pt>
                <c:pt idx="7">
                  <c:v>7.46E-2</c:v>
                </c:pt>
                <c:pt idx="8">
                  <c:v>7.0099999999999996E-2</c:v>
                </c:pt>
                <c:pt idx="9">
                  <c:v>8.0600000000000005E-2</c:v>
                </c:pt>
              </c:numCache>
            </c:numRef>
          </c:val>
          <c:smooth val="0"/>
          <c:extLst>
            <c:ext xmlns:c16="http://schemas.microsoft.com/office/drawing/2014/chart" uri="{C3380CC4-5D6E-409C-BE32-E72D297353CC}">
              <c16:uniqueId val="{00000003-3195-4BE4-9CBF-0D01B9015DB9}"/>
            </c:ext>
          </c:extLst>
        </c:ser>
        <c:ser>
          <c:idx val="5"/>
          <c:order val="4"/>
          <c:tx>
            <c:strRef>
              <c:f>SportCal!$G$4</c:f>
              <c:strCache>
                <c:ptCount val="1"/>
                <c:pt idx="0">
                  <c:v>Travel</c:v>
                </c:pt>
              </c:strCache>
            </c:strRef>
          </c:tx>
          <c:spPr>
            <a:ln w="12700" cap="rnd">
              <a:solidFill>
                <a:schemeClr val="tx2">
                  <a:lumMod val="75000"/>
                  <a:lumOff val="25000"/>
                </a:schemeClr>
              </a:solidFill>
              <a:prstDash val="sysDash"/>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G$5:$G$14</c:f>
              <c:numCache>
                <c:formatCode>0.00%</c:formatCode>
                <c:ptCount val="10"/>
                <c:pt idx="0">
                  <c:v>6.2799999999999995E-2</c:v>
                </c:pt>
                <c:pt idx="1">
                  <c:v>6.2399999999999997E-2</c:v>
                </c:pt>
                <c:pt idx="2">
                  <c:v>5.6599999999999998E-2</c:v>
                </c:pt>
                <c:pt idx="3">
                  <c:v>6.4899999999999999E-2</c:v>
                </c:pt>
                <c:pt idx="4">
                  <c:v>6.4500000000000002E-2</c:v>
                </c:pt>
                <c:pt idx="5">
                  <c:v>6.0699999999999997E-2</c:v>
                </c:pt>
                <c:pt idx="6">
                  <c:v>6.88E-2</c:v>
                </c:pt>
                <c:pt idx="7">
                  <c:v>6.2700000000000006E-2</c:v>
                </c:pt>
                <c:pt idx="8">
                  <c:v>6.4500000000000002E-2</c:v>
                </c:pt>
                <c:pt idx="9">
                  <c:v>6.8400000000000002E-2</c:v>
                </c:pt>
              </c:numCache>
            </c:numRef>
          </c:val>
          <c:smooth val="0"/>
          <c:extLst>
            <c:ext xmlns:c16="http://schemas.microsoft.com/office/drawing/2014/chart" uri="{C3380CC4-5D6E-409C-BE32-E72D297353CC}">
              <c16:uniqueId val="{00000004-3195-4BE4-9CBF-0D01B9015DB9}"/>
            </c:ext>
          </c:extLst>
        </c:ser>
        <c:ser>
          <c:idx val="6"/>
          <c:order val="5"/>
          <c:tx>
            <c:strRef>
              <c:f>SportCal!$H$4</c:f>
              <c:strCache>
                <c:ptCount val="1"/>
                <c:pt idx="0">
                  <c:v>Apparel</c:v>
                </c:pt>
              </c:strCache>
            </c:strRef>
          </c:tx>
          <c:spPr>
            <a:ln w="28575" cap="rnd">
              <a:solidFill>
                <a:srgbClr val="7030A0"/>
              </a:solidFill>
              <a:prstDash val="sysDot"/>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H$5:$H$14</c:f>
              <c:numCache>
                <c:formatCode>0.00%</c:formatCode>
                <c:ptCount val="10"/>
                <c:pt idx="0">
                  <c:v>6.0999999999999999E-2</c:v>
                </c:pt>
                <c:pt idx="1">
                  <c:v>6.0900000000000003E-2</c:v>
                </c:pt>
                <c:pt idx="2">
                  <c:v>7.2800000000000004E-2</c:v>
                </c:pt>
                <c:pt idx="3">
                  <c:v>6.9099999999999995E-2</c:v>
                </c:pt>
                <c:pt idx="4">
                  <c:v>7.7200000000000005E-2</c:v>
                </c:pt>
                <c:pt idx="5">
                  <c:v>6.5600000000000006E-2</c:v>
                </c:pt>
                <c:pt idx="6">
                  <c:v>6.5100000000000005E-2</c:v>
                </c:pt>
                <c:pt idx="7">
                  <c:v>7.0400000000000004E-2</c:v>
                </c:pt>
                <c:pt idx="8">
                  <c:v>6.7699999999999996E-2</c:v>
                </c:pt>
                <c:pt idx="9">
                  <c:v>6.6500000000000004E-2</c:v>
                </c:pt>
              </c:numCache>
            </c:numRef>
          </c:val>
          <c:smooth val="0"/>
          <c:extLst>
            <c:ext xmlns:c16="http://schemas.microsoft.com/office/drawing/2014/chart" uri="{C3380CC4-5D6E-409C-BE32-E72D297353CC}">
              <c16:uniqueId val="{00000005-3195-4BE4-9CBF-0D01B9015DB9}"/>
            </c:ext>
          </c:extLst>
        </c:ser>
        <c:ser>
          <c:idx val="7"/>
          <c:order val="6"/>
          <c:tx>
            <c:strRef>
              <c:f>SportCal!$I$4</c:f>
              <c:strCache>
                <c:ptCount val="1"/>
                <c:pt idx="0">
                  <c:v>Retail</c:v>
                </c:pt>
              </c:strCache>
            </c:strRef>
          </c:tx>
          <c:spPr>
            <a:ln w="28575" cap="rnd">
              <a:solidFill>
                <a:schemeClr val="accent1">
                  <a:lumMod val="50000"/>
                </a:schemeClr>
              </a:solidFill>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I$5:$I$14</c:f>
              <c:numCache>
                <c:formatCode>0.00%</c:formatCode>
                <c:ptCount val="10"/>
                <c:pt idx="0">
                  <c:v>2.8400000000000002E-2</c:v>
                </c:pt>
                <c:pt idx="1">
                  <c:v>2.4400000000000002E-2</c:v>
                </c:pt>
                <c:pt idx="2">
                  <c:v>2.69E-2</c:v>
                </c:pt>
                <c:pt idx="3">
                  <c:v>2.8500000000000001E-2</c:v>
                </c:pt>
                <c:pt idx="4">
                  <c:v>3.5299999999999998E-2</c:v>
                </c:pt>
                <c:pt idx="5">
                  <c:v>3.1899999999999998E-2</c:v>
                </c:pt>
                <c:pt idx="6">
                  <c:v>3.7499999999999999E-2</c:v>
                </c:pt>
                <c:pt idx="7">
                  <c:v>2.98E-2</c:v>
                </c:pt>
                <c:pt idx="8">
                  <c:v>3.6799999999999999E-2</c:v>
                </c:pt>
                <c:pt idx="9">
                  <c:v>3.5900000000000001E-2</c:v>
                </c:pt>
              </c:numCache>
            </c:numRef>
          </c:val>
          <c:smooth val="0"/>
          <c:extLst>
            <c:ext xmlns:c16="http://schemas.microsoft.com/office/drawing/2014/chart" uri="{C3380CC4-5D6E-409C-BE32-E72D297353CC}">
              <c16:uniqueId val="{00000006-3195-4BE4-9CBF-0D01B9015DB9}"/>
            </c:ext>
          </c:extLst>
        </c:ser>
        <c:ser>
          <c:idx val="8"/>
          <c:order val="7"/>
          <c:tx>
            <c:strRef>
              <c:f>SportCal!$J$4</c:f>
              <c:strCache>
                <c:ptCount val="1"/>
                <c:pt idx="0">
                  <c:v>Watches &amp; Jewellery</c:v>
                </c:pt>
              </c:strCache>
            </c:strRef>
          </c:tx>
          <c:spPr>
            <a:ln w="28575" cap="rnd">
              <a:solidFill>
                <a:srgbClr val="FFC000"/>
              </a:solidFill>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J$5:$J$14</c:f>
              <c:numCache>
                <c:formatCode>0.00%</c:formatCode>
                <c:ptCount val="10"/>
                <c:pt idx="0">
                  <c:v>2.9499999999999998E-2</c:v>
                </c:pt>
                <c:pt idx="1">
                  <c:v>3.6499999999999998E-2</c:v>
                </c:pt>
                <c:pt idx="2">
                  <c:v>5.1700000000000003E-2</c:v>
                </c:pt>
                <c:pt idx="3">
                  <c:v>3.5700000000000003E-2</c:v>
                </c:pt>
                <c:pt idx="4">
                  <c:v>4.2599999999999999E-2</c:v>
                </c:pt>
                <c:pt idx="5">
                  <c:v>3.56E-2</c:v>
                </c:pt>
                <c:pt idx="6">
                  <c:v>3.2599999999999997E-2</c:v>
                </c:pt>
                <c:pt idx="7">
                  <c:v>3.3500000000000002E-2</c:v>
                </c:pt>
                <c:pt idx="8">
                  <c:v>3.78E-2</c:v>
                </c:pt>
                <c:pt idx="9">
                  <c:v>3.5299999999999998E-2</c:v>
                </c:pt>
              </c:numCache>
            </c:numRef>
          </c:val>
          <c:smooth val="0"/>
          <c:extLst>
            <c:ext xmlns:c16="http://schemas.microsoft.com/office/drawing/2014/chart" uri="{C3380CC4-5D6E-409C-BE32-E72D297353CC}">
              <c16:uniqueId val="{00000007-3195-4BE4-9CBF-0D01B9015DB9}"/>
            </c:ext>
          </c:extLst>
        </c:ser>
        <c:ser>
          <c:idx val="9"/>
          <c:order val="8"/>
          <c:tx>
            <c:strRef>
              <c:f>SportCal!$K$4</c:f>
              <c:strCache>
                <c:ptCount val="1"/>
                <c:pt idx="0">
                  <c:v>Food</c:v>
                </c:pt>
              </c:strCache>
            </c:strRef>
          </c:tx>
          <c:spPr>
            <a:ln w="28575" cap="rnd">
              <a:solidFill>
                <a:srgbClr val="92D050"/>
              </a:solidFill>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K$5:$K$14</c:f>
              <c:numCache>
                <c:formatCode>0.00%</c:formatCode>
                <c:ptCount val="10"/>
                <c:pt idx="0">
                  <c:v>2.3400000000000001E-2</c:v>
                </c:pt>
                <c:pt idx="1">
                  <c:v>2.2100000000000002E-2</c:v>
                </c:pt>
                <c:pt idx="2">
                  <c:v>2.81E-2</c:v>
                </c:pt>
                <c:pt idx="3">
                  <c:v>2.6100000000000002E-2</c:v>
                </c:pt>
                <c:pt idx="4">
                  <c:v>2.8799999999999999E-2</c:v>
                </c:pt>
                <c:pt idx="5">
                  <c:v>2.3300000000000001E-2</c:v>
                </c:pt>
                <c:pt idx="6">
                  <c:v>3.0099999999999998E-2</c:v>
                </c:pt>
                <c:pt idx="7">
                  <c:v>3.09E-2</c:v>
                </c:pt>
                <c:pt idx="8">
                  <c:v>3.2800000000000003E-2</c:v>
                </c:pt>
                <c:pt idx="9">
                  <c:v>3.2800000000000003E-2</c:v>
                </c:pt>
              </c:numCache>
            </c:numRef>
          </c:val>
          <c:smooth val="0"/>
          <c:extLst>
            <c:ext xmlns:c16="http://schemas.microsoft.com/office/drawing/2014/chart" uri="{C3380CC4-5D6E-409C-BE32-E72D297353CC}">
              <c16:uniqueId val="{00000008-3195-4BE4-9CBF-0D01B9015DB9}"/>
            </c:ext>
          </c:extLst>
        </c:ser>
        <c:ser>
          <c:idx val="10"/>
          <c:order val="9"/>
          <c:tx>
            <c:strRef>
              <c:f>SportCal!$L$4</c:f>
              <c:strCache>
                <c:ptCount val="1"/>
                <c:pt idx="0">
                  <c:v>Telecommunications</c:v>
                </c:pt>
              </c:strCache>
            </c:strRef>
          </c:tx>
          <c:spPr>
            <a:ln w="28575" cap="rnd">
              <a:solidFill>
                <a:schemeClr val="accent4"/>
              </a:solidFill>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L$5:$L$14</c:f>
              <c:numCache>
                <c:formatCode>0.00%</c:formatCode>
                <c:ptCount val="10"/>
                <c:pt idx="0">
                  <c:v>5.1999999999999998E-2</c:v>
                </c:pt>
                <c:pt idx="1">
                  <c:v>5.5300000000000002E-2</c:v>
                </c:pt>
                <c:pt idx="2">
                  <c:v>4.9500000000000002E-2</c:v>
                </c:pt>
                <c:pt idx="3">
                  <c:v>4.58E-2</c:v>
                </c:pt>
                <c:pt idx="4">
                  <c:v>5.6099999999999997E-2</c:v>
                </c:pt>
                <c:pt idx="5">
                  <c:v>4.9299999999999997E-2</c:v>
                </c:pt>
                <c:pt idx="6">
                  <c:v>4.0599999999999997E-2</c:v>
                </c:pt>
                <c:pt idx="7">
                  <c:v>3.4799999999999998E-2</c:v>
                </c:pt>
                <c:pt idx="8">
                  <c:v>3.3599999999999998E-2</c:v>
                </c:pt>
                <c:pt idx="9">
                  <c:v>2.8199999999999999E-2</c:v>
                </c:pt>
              </c:numCache>
            </c:numRef>
          </c:val>
          <c:smooth val="0"/>
          <c:extLst>
            <c:ext xmlns:c16="http://schemas.microsoft.com/office/drawing/2014/chart" uri="{C3380CC4-5D6E-409C-BE32-E72D297353CC}">
              <c16:uniqueId val="{00000009-3195-4BE4-9CBF-0D01B9015DB9}"/>
            </c:ext>
          </c:extLst>
        </c:ser>
        <c:dLbls>
          <c:showLegendKey val="0"/>
          <c:showVal val="0"/>
          <c:showCatName val="0"/>
          <c:showSerName val="0"/>
          <c:showPercent val="0"/>
          <c:showBubbleSize val="0"/>
        </c:dLbls>
        <c:smooth val="0"/>
        <c:axId val="556448968"/>
        <c:axId val="556449360"/>
      </c:lineChart>
      <c:catAx>
        <c:axId val="55644896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556449360"/>
        <c:crosses val="autoZero"/>
        <c:auto val="1"/>
        <c:lblAlgn val="ctr"/>
        <c:lblOffset val="100"/>
        <c:noMultiLvlLbl val="0"/>
      </c:catAx>
      <c:valAx>
        <c:axId val="55644936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dirty="0"/>
                  <a:t>% of Total Event Sponsorship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title>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556448968"/>
        <c:crosses val="autoZero"/>
        <c:crossBetween val="between"/>
      </c:valAx>
      <c:spPr>
        <a:noFill/>
        <a:ln>
          <a:noFill/>
        </a:ln>
        <a:effectLst/>
      </c:spPr>
    </c:plotArea>
    <c:legend>
      <c:legendPos val="l"/>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a:solidFill>
            <a:schemeClr val="tx1"/>
          </a:solidFill>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svg"/><Relationship Id="rId1" Type="http://schemas.openxmlformats.org/officeDocument/2006/relationships/image" Target="../media/image52.png"/><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image" Target="../media/image55.svg"/></Relationships>
</file>

<file path=ppt/diagrams/_rels/data2.xml.rels><?xml version="1.0" encoding="UTF-8" standalone="yes"?>
<Relationships xmlns="http://schemas.openxmlformats.org/package/2006/relationships"><Relationship Id="rId8" Type="http://schemas.openxmlformats.org/officeDocument/2006/relationships/image" Target="../media/image127.svg"/><Relationship Id="rId3" Type="http://schemas.openxmlformats.org/officeDocument/2006/relationships/image" Target="../media/image122.png"/><Relationship Id="rId7" Type="http://schemas.openxmlformats.org/officeDocument/2006/relationships/image" Target="../media/image126.png"/><Relationship Id="rId12" Type="http://schemas.openxmlformats.org/officeDocument/2006/relationships/image" Target="../media/image131.svg"/><Relationship Id="rId2" Type="http://schemas.openxmlformats.org/officeDocument/2006/relationships/image" Target="../media/image121.svg"/><Relationship Id="rId1" Type="http://schemas.openxmlformats.org/officeDocument/2006/relationships/image" Target="../media/image120.png"/><Relationship Id="rId6" Type="http://schemas.openxmlformats.org/officeDocument/2006/relationships/image" Target="../media/image125.svg"/><Relationship Id="rId11" Type="http://schemas.openxmlformats.org/officeDocument/2006/relationships/image" Target="../media/image130.png"/><Relationship Id="rId5" Type="http://schemas.openxmlformats.org/officeDocument/2006/relationships/image" Target="../media/image124.png"/><Relationship Id="rId10" Type="http://schemas.openxmlformats.org/officeDocument/2006/relationships/image" Target="../media/image129.svg"/><Relationship Id="rId4" Type="http://schemas.openxmlformats.org/officeDocument/2006/relationships/image" Target="../media/image123.svg"/><Relationship Id="rId9" Type="http://schemas.openxmlformats.org/officeDocument/2006/relationships/image" Target="../media/image128.png"/></Relationships>
</file>

<file path=ppt/diagrams/_rels/data6.xml.rels><?xml version="1.0" encoding="UTF-8" standalone="yes"?>
<Relationships xmlns="http://schemas.openxmlformats.org/package/2006/relationships"><Relationship Id="rId8" Type="http://schemas.openxmlformats.org/officeDocument/2006/relationships/image" Target="../media/image196.svg"/><Relationship Id="rId3" Type="http://schemas.openxmlformats.org/officeDocument/2006/relationships/image" Target="../media/image191.png"/><Relationship Id="rId7" Type="http://schemas.openxmlformats.org/officeDocument/2006/relationships/image" Target="../media/image195.png"/><Relationship Id="rId2" Type="http://schemas.openxmlformats.org/officeDocument/2006/relationships/image" Target="../media/image190.svg"/><Relationship Id="rId1" Type="http://schemas.openxmlformats.org/officeDocument/2006/relationships/image" Target="../media/image189.png"/><Relationship Id="rId6" Type="http://schemas.openxmlformats.org/officeDocument/2006/relationships/image" Target="../media/image194.svg"/><Relationship Id="rId5" Type="http://schemas.openxmlformats.org/officeDocument/2006/relationships/image" Target="../media/image193.png"/><Relationship Id="rId4" Type="http://schemas.openxmlformats.org/officeDocument/2006/relationships/image" Target="../media/image192.svg"/></Relationships>
</file>

<file path=ppt/diagrams/_rels/drawing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svg"/><Relationship Id="rId1" Type="http://schemas.openxmlformats.org/officeDocument/2006/relationships/image" Target="../media/image52.png"/><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image" Target="../media/image55.svg"/></Relationships>
</file>

<file path=ppt/diagrams/_rels/drawing2.xml.rels><?xml version="1.0" encoding="UTF-8" standalone="yes"?>
<Relationships xmlns="http://schemas.openxmlformats.org/package/2006/relationships"><Relationship Id="rId8" Type="http://schemas.openxmlformats.org/officeDocument/2006/relationships/image" Target="../media/image127.svg"/><Relationship Id="rId3" Type="http://schemas.openxmlformats.org/officeDocument/2006/relationships/image" Target="../media/image122.png"/><Relationship Id="rId7" Type="http://schemas.openxmlformats.org/officeDocument/2006/relationships/image" Target="../media/image126.png"/><Relationship Id="rId12" Type="http://schemas.openxmlformats.org/officeDocument/2006/relationships/image" Target="../media/image131.svg"/><Relationship Id="rId2" Type="http://schemas.openxmlformats.org/officeDocument/2006/relationships/image" Target="../media/image121.svg"/><Relationship Id="rId1" Type="http://schemas.openxmlformats.org/officeDocument/2006/relationships/image" Target="../media/image120.png"/><Relationship Id="rId6" Type="http://schemas.openxmlformats.org/officeDocument/2006/relationships/image" Target="../media/image125.svg"/><Relationship Id="rId11" Type="http://schemas.openxmlformats.org/officeDocument/2006/relationships/image" Target="../media/image130.png"/><Relationship Id="rId5" Type="http://schemas.openxmlformats.org/officeDocument/2006/relationships/image" Target="../media/image124.png"/><Relationship Id="rId10" Type="http://schemas.openxmlformats.org/officeDocument/2006/relationships/image" Target="../media/image129.svg"/><Relationship Id="rId4" Type="http://schemas.openxmlformats.org/officeDocument/2006/relationships/image" Target="../media/image123.svg"/><Relationship Id="rId9" Type="http://schemas.openxmlformats.org/officeDocument/2006/relationships/image" Target="../media/image128.png"/></Relationships>
</file>

<file path=ppt/diagrams/_rels/drawing6.xml.rels><?xml version="1.0" encoding="UTF-8" standalone="yes"?>
<Relationships xmlns="http://schemas.openxmlformats.org/package/2006/relationships"><Relationship Id="rId8" Type="http://schemas.openxmlformats.org/officeDocument/2006/relationships/image" Target="../media/image196.svg"/><Relationship Id="rId3" Type="http://schemas.openxmlformats.org/officeDocument/2006/relationships/image" Target="../media/image191.png"/><Relationship Id="rId7" Type="http://schemas.openxmlformats.org/officeDocument/2006/relationships/image" Target="../media/image195.png"/><Relationship Id="rId2" Type="http://schemas.openxmlformats.org/officeDocument/2006/relationships/image" Target="../media/image190.svg"/><Relationship Id="rId1" Type="http://schemas.openxmlformats.org/officeDocument/2006/relationships/image" Target="../media/image189.png"/><Relationship Id="rId6" Type="http://schemas.openxmlformats.org/officeDocument/2006/relationships/image" Target="../media/image194.svg"/><Relationship Id="rId5" Type="http://schemas.openxmlformats.org/officeDocument/2006/relationships/image" Target="../media/image193.png"/><Relationship Id="rId4" Type="http://schemas.openxmlformats.org/officeDocument/2006/relationships/image" Target="../media/image192.svg"/></Relationships>
</file>

<file path=ppt/diagrams/colors1.xml><?xml version="1.0" encoding="utf-8"?>
<dgm:colorsDef xmlns:dgm="http://schemas.openxmlformats.org/drawingml/2006/diagram" xmlns:a="http://schemas.openxmlformats.org/drawingml/2006/main" uniqueId="urn:microsoft.com/office/officeart/2018/5/colors/Iconchunking_neutralicontext_accent3_2">
  <dgm:title val=""/>
  <dgm:desc val=""/>
  <dgm:catLst>
    <dgm:cat type="accent3" pri="13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dgm:fillClrLst>
    <dgm:linClrLst meth="repeat">
      <a:schemeClr val="lt1">
        <a:alpha val="0"/>
      </a:schemeClr>
    </dgm:linClrLst>
    <dgm:effectClrLst/>
    <dgm:txLinClrLst/>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a:alpha val="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1F2D0E-BEA5-4DAF-8D6F-5C9FE7EAB579}" type="doc">
      <dgm:prSet loTypeId="urn:microsoft.com/office/officeart/2018/2/layout/IconVerticalSolidList" loCatId="icon" qsTypeId="urn:microsoft.com/office/officeart/2005/8/quickstyle/simple1" qsCatId="simple" csTypeId="urn:microsoft.com/office/officeart/2018/5/colors/Iconchunking_neutralicontext_accent3_2" csCatId="accent3" phldr="1"/>
      <dgm:spPr/>
      <dgm:t>
        <a:bodyPr/>
        <a:lstStyle/>
        <a:p>
          <a:endParaRPr lang="en-US"/>
        </a:p>
      </dgm:t>
    </dgm:pt>
    <dgm:pt modelId="{EA69C903-E686-49BB-AF4F-962FD39C3DD0}">
      <dgm:prSet/>
      <dgm:spPr/>
      <dgm:t>
        <a:bodyPr/>
        <a:lstStyle/>
        <a:p>
          <a:pPr>
            <a:lnSpc>
              <a:spcPct val="100000"/>
            </a:lnSpc>
          </a:pPr>
          <a:r>
            <a:rPr lang="fr-FR" b="1"/>
            <a:t>Passion</a:t>
          </a:r>
          <a:r>
            <a:rPr lang="fr-FR"/>
            <a:t> : executive passion for sport (« President dancer ») : RLD, Kampf, Weber, Lagardere… </a:t>
          </a:r>
          <a:endParaRPr lang="en-US"/>
        </a:p>
      </dgm:t>
    </dgm:pt>
    <dgm:pt modelId="{D6075C54-4444-4D1E-92BF-031F7D7BD01F}" type="parTrans" cxnId="{42BC6480-8DA5-4540-8CA0-8CCA38FAEE03}">
      <dgm:prSet/>
      <dgm:spPr/>
      <dgm:t>
        <a:bodyPr/>
        <a:lstStyle/>
        <a:p>
          <a:endParaRPr lang="en-US"/>
        </a:p>
      </dgm:t>
    </dgm:pt>
    <dgm:pt modelId="{0E27AB75-074F-4E01-86C8-F61BCBE0D8E2}" type="sibTrans" cxnId="{42BC6480-8DA5-4540-8CA0-8CCA38FAEE03}">
      <dgm:prSet/>
      <dgm:spPr/>
      <dgm:t>
        <a:bodyPr/>
        <a:lstStyle/>
        <a:p>
          <a:endParaRPr lang="en-US"/>
        </a:p>
      </dgm:t>
    </dgm:pt>
    <dgm:pt modelId="{B2FB16BA-47A9-40C4-AAD7-46908C087AD0}">
      <dgm:prSet/>
      <dgm:spPr/>
      <dgm:t>
        <a:bodyPr/>
        <a:lstStyle/>
        <a:p>
          <a:pPr>
            <a:lnSpc>
              <a:spcPct val="100000"/>
            </a:lnSpc>
          </a:pPr>
          <a:r>
            <a:rPr lang="fr-FR" b="1"/>
            <a:t>Opportunism</a:t>
          </a:r>
          <a:r>
            <a:rPr lang="fr-FR"/>
            <a:t> : business project using sponsorphip potential : Sodexo, Veolia, Vinci, Eiffage, Bouygues, Thomson &amp; PSG… </a:t>
          </a:r>
          <a:endParaRPr lang="en-US"/>
        </a:p>
      </dgm:t>
    </dgm:pt>
    <dgm:pt modelId="{8551FC3F-1816-4162-84F6-644AFB1516B9}" type="parTrans" cxnId="{D5103D26-173C-4501-A89A-11FE8C05C50A}">
      <dgm:prSet/>
      <dgm:spPr/>
      <dgm:t>
        <a:bodyPr/>
        <a:lstStyle/>
        <a:p>
          <a:endParaRPr lang="en-US"/>
        </a:p>
      </dgm:t>
    </dgm:pt>
    <dgm:pt modelId="{E72C5923-33BD-4B9E-8EF5-1101DD1B0018}" type="sibTrans" cxnId="{D5103D26-173C-4501-A89A-11FE8C05C50A}">
      <dgm:prSet/>
      <dgm:spPr/>
      <dgm:t>
        <a:bodyPr/>
        <a:lstStyle/>
        <a:p>
          <a:endParaRPr lang="en-US"/>
        </a:p>
      </dgm:t>
    </dgm:pt>
    <dgm:pt modelId="{202A8494-2525-410B-9303-1A1CF028829A}">
      <dgm:prSet/>
      <dgm:spPr/>
      <dgm:t>
        <a:bodyPr/>
        <a:lstStyle/>
        <a:p>
          <a:pPr>
            <a:lnSpc>
              <a:spcPct val="100000"/>
            </a:lnSpc>
          </a:pPr>
          <a:r>
            <a:rPr lang="fr-FR" b="1"/>
            <a:t>Strategic</a:t>
          </a:r>
          <a:r>
            <a:rPr lang="fr-FR"/>
            <a:t> : sponsorshsip integration into a global brand strategy : We all speak football, We are tennis… </a:t>
          </a:r>
          <a:endParaRPr lang="en-US"/>
        </a:p>
      </dgm:t>
    </dgm:pt>
    <dgm:pt modelId="{2E99D398-D304-4D39-B33B-352B07C940BE}" type="parTrans" cxnId="{67E5196F-B3BD-4B4B-A847-13E13EBB7F11}">
      <dgm:prSet/>
      <dgm:spPr/>
      <dgm:t>
        <a:bodyPr/>
        <a:lstStyle/>
        <a:p>
          <a:endParaRPr lang="en-US"/>
        </a:p>
      </dgm:t>
    </dgm:pt>
    <dgm:pt modelId="{3C27477E-5EAE-418C-9473-EA6739B72ABF}" type="sibTrans" cxnId="{67E5196F-B3BD-4B4B-A847-13E13EBB7F11}">
      <dgm:prSet/>
      <dgm:spPr/>
      <dgm:t>
        <a:bodyPr/>
        <a:lstStyle/>
        <a:p>
          <a:endParaRPr lang="en-US"/>
        </a:p>
      </dgm:t>
    </dgm:pt>
    <dgm:pt modelId="{EDBCF63C-295A-4146-997D-D334DAE825E0}" type="pres">
      <dgm:prSet presAssocID="{E71F2D0E-BEA5-4DAF-8D6F-5C9FE7EAB579}" presName="root" presStyleCnt="0">
        <dgm:presLayoutVars>
          <dgm:dir/>
          <dgm:resizeHandles val="exact"/>
        </dgm:presLayoutVars>
      </dgm:prSet>
      <dgm:spPr/>
    </dgm:pt>
    <dgm:pt modelId="{B4579863-2B1F-484F-9340-A2197056EF1D}" type="pres">
      <dgm:prSet presAssocID="{EA69C903-E686-49BB-AF4F-962FD39C3DD0}" presName="compNode" presStyleCnt="0"/>
      <dgm:spPr/>
    </dgm:pt>
    <dgm:pt modelId="{B6775FD6-F926-42A7-B491-12B0631FCCB3}" type="pres">
      <dgm:prSet presAssocID="{EA69C903-E686-49BB-AF4F-962FD39C3DD0}" presName="bgRect" presStyleLbl="bgShp" presStyleIdx="0" presStyleCnt="3"/>
      <dgm:spPr/>
    </dgm:pt>
    <dgm:pt modelId="{804FDE19-2F77-40AE-A583-B7B29A5D0370}" type="pres">
      <dgm:prSet presAssocID="{EA69C903-E686-49BB-AF4F-962FD39C3DD0}"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oustache Face with Solid Fill"/>
        </a:ext>
      </dgm:extLst>
    </dgm:pt>
    <dgm:pt modelId="{8DA86AAC-5AE9-4DF1-AF15-ED4A9324326F}" type="pres">
      <dgm:prSet presAssocID="{EA69C903-E686-49BB-AF4F-962FD39C3DD0}" presName="spaceRect" presStyleCnt="0"/>
      <dgm:spPr/>
    </dgm:pt>
    <dgm:pt modelId="{EA89CA03-678E-4FE6-A46C-1A702E311820}" type="pres">
      <dgm:prSet presAssocID="{EA69C903-E686-49BB-AF4F-962FD39C3DD0}" presName="parTx" presStyleLbl="revTx" presStyleIdx="0" presStyleCnt="3">
        <dgm:presLayoutVars>
          <dgm:chMax val="0"/>
          <dgm:chPref val="0"/>
        </dgm:presLayoutVars>
      </dgm:prSet>
      <dgm:spPr/>
    </dgm:pt>
    <dgm:pt modelId="{6AD1BF45-D39F-4F64-A365-B9C395B2E5B5}" type="pres">
      <dgm:prSet presAssocID="{0E27AB75-074F-4E01-86C8-F61BCBE0D8E2}" presName="sibTrans" presStyleCnt="0"/>
      <dgm:spPr/>
    </dgm:pt>
    <dgm:pt modelId="{B7219D77-C2F4-4F2D-A1A5-11AFBBDC7804}" type="pres">
      <dgm:prSet presAssocID="{B2FB16BA-47A9-40C4-AAD7-46908C087AD0}" presName="compNode" presStyleCnt="0"/>
      <dgm:spPr/>
    </dgm:pt>
    <dgm:pt modelId="{F7895A86-6735-4EAE-98BF-0AEF01113806}" type="pres">
      <dgm:prSet presAssocID="{B2FB16BA-47A9-40C4-AAD7-46908C087AD0}" presName="bgRect" presStyleLbl="bgShp" presStyleIdx="1" presStyleCnt="3"/>
      <dgm:spPr/>
    </dgm:pt>
    <dgm:pt modelId="{278A3B45-5F8E-44CE-A500-256AD1BEE587}" type="pres">
      <dgm:prSet presAssocID="{B2FB16BA-47A9-40C4-AAD7-46908C087AD0}"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Skeleton"/>
        </a:ext>
      </dgm:extLst>
    </dgm:pt>
    <dgm:pt modelId="{A5B7A152-A0C0-46D5-96EF-B9D70DEBD21D}" type="pres">
      <dgm:prSet presAssocID="{B2FB16BA-47A9-40C4-AAD7-46908C087AD0}" presName="spaceRect" presStyleCnt="0"/>
      <dgm:spPr/>
    </dgm:pt>
    <dgm:pt modelId="{5B82BBCB-EA9E-4221-8B20-FE921D8C6613}" type="pres">
      <dgm:prSet presAssocID="{B2FB16BA-47A9-40C4-AAD7-46908C087AD0}" presName="parTx" presStyleLbl="revTx" presStyleIdx="1" presStyleCnt="3">
        <dgm:presLayoutVars>
          <dgm:chMax val="0"/>
          <dgm:chPref val="0"/>
        </dgm:presLayoutVars>
      </dgm:prSet>
      <dgm:spPr/>
    </dgm:pt>
    <dgm:pt modelId="{F4A3EB2C-8892-47F2-B142-CAE8FDC91785}" type="pres">
      <dgm:prSet presAssocID="{E72C5923-33BD-4B9E-8EF5-1101DD1B0018}" presName="sibTrans" presStyleCnt="0"/>
      <dgm:spPr/>
    </dgm:pt>
    <dgm:pt modelId="{D4950DD6-D454-4CE7-9F40-97C6BF11AA1C}" type="pres">
      <dgm:prSet presAssocID="{202A8494-2525-410B-9303-1A1CF028829A}" presName="compNode" presStyleCnt="0"/>
      <dgm:spPr/>
    </dgm:pt>
    <dgm:pt modelId="{DC1575AF-D21A-4BFB-B846-8954B651EEFC}" type="pres">
      <dgm:prSet presAssocID="{202A8494-2525-410B-9303-1A1CF028829A}" presName="bgRect" presStyleLbl="bgShp" presStyleIdx="2" presStyleCnt="3"/>
      <dgm:spPr/>
    </dgm:pt>
    <dgm:pt modelId="{5B9DADF5-7505-4815-8B96-EAE2260638D7}" type="pres">
      <dgm:prSet presAssocID="{202A8494-2525-410B-9303-1A1CF028829A}"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occer Player"/>
        </a:ext>
      </dgm:extLst>
    </dgm:pt>
    <dgm:pt modelId="{A615E2C2-B7F6-44BE-A366-DD789EF89DA2}" type="pres">
      <dgm:prSet presAssocID="{202A8494-2525-410B-9303-1A1CF028829A}" presName="spaceRect" presStyleCnt="0"/>
      <dgm:spPr/>
    </dgm:pt>
    <dgm:pt modelId="{CB56BCC5-B3BD-4662-B3B5-4F78B9CC3E3A}" type="pres">
      <dgm:prSet presAssocID="{202A8494-2525-410B-9303-1A1CF028829A}" presName="parTx" presStyleLbl="revTx" presStyleIdx="2" presStyleCnt="3">
        <dgm:presLayoutVars>
          <dgm:chMax val="0"/>
          <dgm:chPref val="0"/>
        </dgm:presLayoutVars>
      </dgm:prSet>
      <dgm:spPr/>
    </dgm:pt>
  </dgm:ptLst>
  <dgm:cxnLst>
    <dgm:cxn modelId="{AC239817-8FF2-471C-9844-88B1EE0AB375}" type="presOf" srcId="{202A8494-2525-410B-9303-1A1CF028829A}" destId="{CB56BCC5-B3BD-4662-B3B5-4F78B9CC3E3A}" srcOrd="0" destOrd="0" presId="urn:microsoft.com/office/officeart/2018/2/layout/IconVerticalSolidList"/>
    <dgm:cxn modelId="{D5103D26-173C-4501-A89A-11FE8C05C50A}" srcId="{E71F2D0E-BEA5-4DAF-8D6F-5C9FE7EAB579}" destId="{B2FB16BA-47A9-40C4-AAD7-46908C087AD0}" srcOrd="1" destOrd="0" parTransId="{8551FC3F-1816-4162-84F6-644AFB1516B9}" sibTransId="{E72C5923-33BD-4B9E-8EF5-1101DD1B0018}"/>
    <dgm:cxn modelId="{67E5196F-B3BD-4B4B-A847-13E13EBB7F11}" srcId="{E71F2D0E-BEA5-4DAF-8D6F-5C9FE7EAB579}" destId="{202A8494-2525-410B-9303-1A1CF028829A}" srcOrd="2" destOrd="0" parTransId="{2E99D398-D304-4D39-B33B-352B07C940BE}" sibTransId="{3C27477E-5EAE-418C-9473-EA6739B72ABF}"/>
    <dgm:cxn modelId="{42BC6480-8DA5-4540-8CA0-8CCA38FAEE03}" srcId="{E71F2D0E-BEA5-4DAF-8D6F-5C9FE7EAB579}" destId="{EA69C903-E686-49BB-AF4F-962FD39C3DD0}" srcOrd="0" destOrd="0" parTransId="{D6075C54-4444-4D1E-92BF-031F7D7BD01F}" sibTransId="{0E27AB75-074F-4E01-86C8-F61BCBE0D8E2}"/>
    <dgm:cxn modelId="{B817AE88-F5F1-4080-9363-136B65CAA999}" type="presOf" srcId="{EA69C903-E686-49BB-AF4F-962FD39C3DD0}" destId="{EA89CA03-678E-4FE6-A46C-1A702E311820}" srcOrd="0" destOrd="0" presId="urn:microsoft.com/office/officeart/2018/2/layout/IconVerticalSolidList"/>
    <dgm:cxn modelId="{97B0E3C0-7569-47E3-9CA8-FB3E7EAF10E9}" type="presOf" srcId="{B2FB16BA-47A9-40C4-AAD7-46908C087AD0}" destId="{5B82BBCB-EA9E-4221-8B20-FE921D8C6613}" srcOrd="0" destOrd="0" presId="urn:microsoft.com/office/officeart/2018/2/layout/IconVerticalSolidList"/>
    <dgm:cxn modelId="{9D5AF9CE-2ED0-4773-B918-017998A5BE17}" type="presOf" srcId="{E71F2D0E-BEA5-4DAF-8D6F-5C9FE7EAB579}" destId="{EDBCF63C-295A-4146-997D-D334DAE825E0}" srcOrd="0" destOrd="0" presId="urn:microsoft.com/office/officeart/2018/2/layout/IconVerticalSolidList"/>
    <dgm:cxn modelId="{57097E0F-B8DE-4FFD-94E6-7024C446EE33}" type="presParOf" srcId="{EDBCF63C-295A-4146-997D-D334DAE825E0}" destId="{B4579863-2B1F-484F-9340-A2197056EF1D}" srcOrd="0" destOrd="0" presId="urn:microsoft.com/office/officeart/2018/2/layout/IconVerticalSolidList"/>
    <dgm:cxn modelId="{4A35B199-C237-4CE0-91BD-E16B278397CE}" type="presParOf" srcId="{B4579863-2B1F-484F-9340-A2197056EF1D}" destId="{B6775FD6-F926-42A7-B491-12B0631FCCB3}" srcOrd="0" destOrd="0" presId="urn:microsoft.com/office/officeart/2018/2/layout/IconVerticalSolidList"/>
    <dgm:cxn modelId="{14B433FF-1A49-4D14-AE36-1F7982B1E274}" type="presParOf" srcId="{B4579863-2B1F-484F-9340-A2197056EF1D}" destId="{804FDE19-2F77-40AE-A583-B7B29A5D0370}" srcOrd="1" destOrd="0" presId="urn:microsoft.com/office/officeart/2018/2/layout/IconVerticalSolidList"/>
    <dgm:cxn modelId="{9E156B1E-4430-48C5-860C-587E42713350}" type="presParOf" srcId="{B4579863-2B1F-484F-9340-A2197056EF1D}" destId="{8DA86AAC-5AE9-4DF1-AF15-ED4A9324326F}" srcOrd="2" destOrd="0" presId="urn:microsoft.com/office/officeart/2018/2/layout/IconVerticalSolidList"/>
    <dgm:cxn modelId="{80C76E40-D9FE-416E-B612-01B307695DBF}" type="presParOf" srcId="{B4579863-2B1F-484F-9340-A2197056EF1D}" destId="{EA89CA03-678E-4FE6-A46C-1A702E311820}" srcOrd="3" destOrd="0" presId="urn:microsoft.com/office/officeart/2018/2/layout/IconVerticalSolidList"/>
    <dgm:cxn modelId="{A73BBE61-B6DD-471B-9FEF-FBADD7EF8B5B}" type="presParOf" srcId="{EDBCF63C-295A-4146-997D-D334DAE825E0}" destId="{6AD1BF45-D39F-4F64-A365-B9C395B2E5B5}" srcOrd="1" destOrd="0" presId="urn:microsoft.com/office/officeart/2018/2/layout/IconVerticalSolidList"/>
    <dgm:cxn modelId="{A1BE9395-CB27-4BC0-9751-DEA716336278}" type="presParOf" srcId="{EDBCF63C-295A-4146-997D-D334DAE825E0}" destId="{B7219D77-C2F4-4F2D-A1A5-11AFBBDC7804}" srcOrd="2" destOrd="0" presId="urn:microsoft.com/office/officeart/2018/2/layout/IconVerticalSolidList"/>
    <dgm:cxn modelId="{C4D49E41-7AF2-4F4B-9A57-5054605B3CB9}" type="presParOf" srcId="{B7219D77-C2F4-4F2D-A1A5-11AFBBDC7804}" destId="{F7895A86-6735-4EAE-98BF-0AEF01113806}" srcOrd="0" destOrd="0" presId="urn:microsoft.com/office/officeart/2018/2/layout/IconVerticalSolidList"/>
    <dgm:cxn modelId="{19EADD4B-2269-45D2-B1FD-F529FCEEAD1B}" type="presParOf" srcId="{B7219D77-C2F4-4F2D-A1A5-11AFBBDC7804}" destId="{278A3B45-5F8E-44CE-A500-256AD1BEE587}" srcOrd="1" destOrd="0" presId="urn:microsoft.com/office/officeart/2018/2/layout/IconVerticalSolidList"/>
    <dgm:cxn modelId="{AC17B33F-A846-4E79-8322-7AA95826FD78}" type="presParOf" srcId="{B7219D77-C2F4-4F2D-A1A5-11AFBBDC7804}" destId="{A5B7A152-A0C0-46D5-96EF-B9D70DEBD21D}" srcOrd="2" destOrd="0" presId="urn:microsoft.com/office/officeart/2018/2/layout/IconVerticalSolidList"/>
    <dgm:cxn modelId="{D3C4F308-4B91-4892-991B-03323C84D087}" type="presParOf" srcId="{B7219D77-C2F4-4F2D-A1A5-11AFBBDC7804}" destId="{5B82BBCB-EA9E-4221-8B20-FE921D8C6613}" srcOrd="3" destOrd="0" presId="urn:microsoft.com/office/officeart/2018/2/layout/IconVerticalSolidList"/>
    <dgm:cxn modelId="{3B174A10-E5E0-4AD4-AA86-4749C003F474}" type="presParOf" srcId="{EDBCF63C-295A-4146-997D-D334DAE825E0}" destId="{F4A3EB2C-8892-47F2-B142-CAE8FDC91785}" srcOrd="3" destOrd="0" presId="urn:microsoft.com/office/officeart/2018/2/layout/IconVerticalSolidList"/>
    <dgm:cxn modelId="{870CDD81-0963-4930-A524-DDD17A4BD63F}" type="presParOf" srcId="{EDBCF63C-295A-4146-997D-D334DAE825E0}" destId="{D4950DD6-D454-4CE7-9F40-97C6BF11AA1C}" srcOrd="4" destOrd="0" presId="urn:microsoft.com/office/officeart/2018/2/layout/IconVerticalSolidList"/>
    <dgm:cxn modelId="{1B7A8EA8-EFD6-4A45-B0D7-1BDC81648447}" type="presParOf" srcId="{D4950DD6-D454-4CE7-9F40-97C6BF11AA1C}" destId="{DC1575AF-D21A-4BFB-B846-8954B651EEFC}" srcOrd="0" destOrd="0" presId="urn:microsoft.com/office/officeart/2018/2/layout/IconVerticalSolidList"/>
    <dgm:cxn modelId="{17972CAF-5659-4E1C-A99E-5DBEEEA41586}" type="presParOf" srcId="{D4950DD6-D454-4CE7-9F40-97C6BF11AA1C}" destId="{5B9DADF5-7505-4815-8B96-EAE2260638D7}" srcOrd="1" destOrd="0" presId="urn:microsoft.com/office/officeart/2018/2/layout/IconVerticalSolidList"/>
    <dgm:cxn modelId="{D2CFEE43-FC52-4B71-A511-9EDBB487AD5F}" type="presParOf" srcId="{D4950DD6-D454-4CE7-9F40-97C6BF11AA1C}" destId="{A615E2C2-B7F6-44BE-A366-DD789EF89DA2}" srcOrd="2" destOrd="0" presId="urn:microsoft.com/office/officeart/2018/2/layout/IconVerticalSolidList"/>
    <dgm:cxn modelId="{EE5A9C31-0AE8-4C09-9CCA-C7CB4602627C}" type="presParOf" srcId="{D4950DD6-D454-4CE7-9F40-97C6BF11AA1C}" destId="{CB56BCC5-B3BD-4662-B3B5-4F78B9CC3E3A}"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00E2AAB-13B7-41BD-951D-4FA402E9DCD8}" type="doc">
      <dgm:prSet loTypeId="urn:microsoft.com/office/officeart/2018/2/layout/IconVerticalSolidList" loCatId="icon" qsTypeId="urn:microsoft.com/office/officeart/2005/8/quickstyle/simple1" qsCatId="simple" csTypeId="urn:microsoft.com/office/officeart/2018/5/colors/Iconchunking_neutralbg_accent1_2" csCatId="accent1" phldr="1"/>
      <dgm:spPr/>
      <dgm:t>
        <a:bodyPr/>
        <a:lstStyle/>
        <a:p>
          <a:endParaRPr lang="en-US"/>
        </a:p>
      </dgm:t>
    </dgm:pt>
    <dgm:pt modelId="{A304B689-075F-49F4-8DA6-7E0CE5253F2E}">
      <dgm:prSet/>
      <dgm:spPr/>
      <dgm:t>
        <a:bodyPr/>
        <a:lstStyle/>
        <a:p>
          <a:pPr>
            <a:lnSpc>
              <a:spcPct val="100000"/>
            </a:lnSpc>
          </a:pPr>
          <a:r>
            <a:rPr lang="fr-FR"/>
            <a:t>Target : identity, image, brand strategy</a:t>
          </a:r>
          <a:endParaRPr lang="en-US"/>
        </a:p>
      </dgm:t>
    </dgm:pt>
    <dgm:pt modelId="{E4318921-00D7-41B2-9297-8184F0C85678}" type="parTrans" cxnId="{34869656-8FE2-4DB8-9F2A-C7BA6217D9E9}">
      <dgm:prSet/>
      <dgm:spPr/>
      <dgm:t>
        <a:bodyPr/>
        <a:lstStyle/>
        <a:p>
          <a:endParaRPr lang="en-US"/>
        </a:p>
      </dgm:t>
    </dgm:pt>
    <dgm:pt modelId="{522A5FE9-DF22-4354-B0C2-8BEEF2CE2FF5}" type="sibTrans" cxnId="{34869656-8FE2-4DB8-9F2A-C7BA6217D9E9}">
      <dgm:prSet/>
      <dgm:spPr/>
      <dgm:t>
        <a:bodyPr/>
        <a:lstStyle/>
        <a:p>
          <a:endParaRPr lang="en-US"/>
        </a:p>
      </dgm:t>
    </dgm:pt>
    <dgm:pt modelId="{5F3B978A-6CF7-4908-BFE3-3D3460C60988}">
      <dgm:prSet/>
      <dgm:spPr/>
      <dgm:t>
        <a:bodyPr/>
        <a:lstStyle/>
        <a:p>
          <a:pPr>
            <a:lnSpc>
              <a:spcPct val="100000"/>
            </a:lnSpc>
          </a:pPr>
          <a:r>
            <a:rPr lang="fr-FR" dirty="0"/>
            <a:t>Goals : Direction : </a:t>
          </a:r>
          <a:r>
            <a:rPr lang="fr-FR" dirty="0" err="1"/>
            <a:t>strategy</a:t>
          </a:r>
          <a:r>
            <a:rPr lang="fr-FR" dirty="0"/>
            <a:t>, </a:t>
          </a:r>
          <a:r>
            <a:rPr lang="fr-FR" dirty="0" err="1"/>
            <a:t>competitive</a:t>
          </a:r>
          <a:r>
            <a:rPr lang="fr-FR" dirty="0"/>
            <a:t> </a:t>
          </a:r>
          <a:r>
            <a:rPr lang="fr-FR" dirty="0" err="1"/>
            <a:t>advantage</a:t>
          </a:r>
          <a:r>
            <a:rPr lang="fr-FR" dirty="0"/>
            <a:t>, </a:t>
          </a:r>
          <a:r>
            <a:rPr lang="fr-FR" dirty="0" err="1"/>
            <a:t>needs</a:t>
          </a:r>
          <a:r>
            <a:rPr lang="fr-FR" dirty="0"/>
            <a:t> anticipation</a:t>
          </a:r>
          <a:endParaRPr lang="en-US" dirty="0"/>
        </a:p>
      </dgm:t>
    </dgm:pt>
    <dgm:pt modelId="{0222DF23-5545-4FF2-AB28-DD37D9E41C33}" type="parTrans" cxnId="{EE6161A9-CFCB-4F9C-B7FA-FC4B7F395E12}">
      <dgm:prSet/>
      <dgm:spPr/>
      <dgm:t>
        <a:bodyPr/>
        <a:lstStyle/>
        <a:p>
          <a:endParaRPr lang="en-US"/>
        </a:p>
      </dgm:t>
    </dgm:pt>
    <dgm:pt modelId="{63FF5DE0-9483-49EB-BA42-7E827FCA8B83}" type="sibTrans" cxnId="{EE6161A9-CFCB-4F9C-B7FA-FC4B7F395E12}">
      <dgm:prSet/>
      <dgm:spPr/>
      <dgm:t>
        <a:bodyPr/>
        <a:lstStyle/>
        <a:p>
          <a:endParaRPr lang="en-US"/>
        </a:p>
      </dgm:t>
    </dgm:pt>
    <dgm:pt modelId="{76C2A436-0C25-433F-A596-5F324E6719BE}">
      <dgm:prSet/>
      <dgm:spPr/>
      <dgm:t>
        <a:bodyPr/>
        <a:lstStyle/>
        <a:p>
          <a:pPr>
            <a:lnSpc>
              <a:spcPct val="100000"/>
            </a:lnSpc>
          </a:pPr>
          <a:r>
            <a:rPr lang="fr-FR"/>
            <a:t>Communication channels</a:t>
          </a:r>
          <a:endParaRPr lang="en-US"/>
        </a:p>
      </dgm:t>
    </dgm:pt>
    <dgm:pt modelId="{8A174BEB-E520-488C-A1A8-513E0417000E}" type="parTrans" cxnId="{FA6BBDB7-C89E-42DA-B8DF-48A4517DE652}">
      <dgm:prSet/>
      <dgm:spPr/>
      <dgm:t>
        <a:bodyPr/>
        <a:lstStyle/>
        <a:p>
          <a:endParaRPr lang="en-US"/>
        </a:p>
      </dgm:t>
    </dgm:pt>
    <dgm:pt modelId="{DA4A56A3-8BE8-4325-BF68-59A093F0A12D}" type="sibTrans" cxnId="{FA6BBDB7-C89E-42DA-B8DF-48A4517DE652}">
      <dgm:prSet/>
      <dgm:spPr/>
      <dgm:t>
        <a:bodyPr/>
        <a:lstStyle/>
        <a:p>
          <a:endParaRPr lang="en-US"/>
        </a:p>
      </dgm:t>
    </dgm:pt>
    <dgm:pt modelId="{D709AB22-67BE-44F5-8183-83242A950271}">
      <dgm:prSet/>
      <dgm:spPr/>
      <dgm:t>
        <a:bodyPr/>
        <a:lstStyle/>
        <a:p>
          <a:pPr>
            <a:lnSpc>
              <a:spcPct val="100000"/>
            </a:lnSpc>
          </a:pPr>
          <a:r>
            <a:rPr lang="fr-FR"/>
            <a:t>Financial potential : Turnover, assets…</a:t>
          </a:r>
          <a:endParaRPr lang="en-US"/>
        </a:p>
      </dgm:t>
    </dgm:pt>
    <dgm:pt modelId="{90D81961-52A4-457A-871C-BBB67A1C3FA7}" type="parTrans" cxnId="{81C13E85-E434-4BCE-9A18-E6681E1E8185}">
      <dgm:prSet/>
      <dgm:spPr/>
      <dgm:t>
        <a:bodyPr/>
        <a:lstStyle/>
        <a:p>
          <a:endParaRPr lang="en-US"/>
        </a:p>
      </dgm:t>
    </dgm:pt>
    <dgm:pt modelId="{F9225DD0-6206-4487-B7EE-BD2F3454EB7A}" type="sibTrans" cxnId="{81C13E85-E434-4BCE-9A18-E6681E1E8185}">
      <dgm:prSet/>
      <dgm:spPr/>
      <dgm:t>
        <a:bodyPr/>
        <a:lstStyle/>
        <a:p>
          <a:endParaRPr lang="en-US"/>
        </a:p>
      </dgm:t>
    </dgm:pt>
    <dgm:pt modelId="{9E5BA825-EC45-4C46-9588-AF7F5A0A3495}">
      <dgm:prSet/>
      <dgm:spPr/>
      <dgm:t>
        <a:bodyPr/>
        <a:lstStyle/>
        <a:p>
          <a:pPr>
            <a:lnSpc>
              <a:spcPct val="100000"/>
            </a:lnSpc>
          </a:pPr>
          <a:r>
            <a:rPr lang="fr-FR"/>
            <a:t>Sponsorship existing actions</a:t>
          </a:r>
          <a:endParaRPr lang="en-US"/>
        </a:p>
      </dgm:t>
    </dgm:pt>
    <dgm:pt modelId="{8605B121-42E5-43EC-AE37-F4F63D631E32}" type="parTrans" cxnId="{C8E302D7-E961-4E09-BD97-D10AE5A52198}">
      <dgm:prSet/>
      <dgm:spPr/>
      <dgm:t>
        <a:bodyPr/>
        <a:lstStyle/>
        <a:p>
          <a:endParaRPr lang="en-US"/>
        </a:p>
      </dgm:t>
    </dgm:pt>
    <dgm:pt modelId="{CD8B5A6A-5BA8-4482-A2F4-3AB2F3E34C61}" type="sibTrans" cxnId="{C8E302D7-E961-4E09-BD97-D10AE5A52198}">
      <dgm:prSet/>
      <dgm:spPr/>
      <dgm:t>
        <a:bodyPr/>
        <a:lstStyle/>
        <a:p>
          <a:endParaRPr lang="en-US"/>
        </a:p>
      </dgm:t>
    </dgm:pt>
    <dgm:pt modelId="{0C25A6D4-12C3-42F9-96E2-9C1B7F969A7E}">
      <dgm:prSet/>
      <dgm:spPr/>
      <dgm:t>
        <a:bodyPr/>
        <a:lstStyle/>
        <a:p>
          <a:pPr>
            <a:lnSpc>
              <a:spcPct val="100000"/>
            </a:lnSpc>
          </a:pPr>
          <a:r>
            <a:rPr lang="fr-FR"/>
            <a:t>Who is the BOSS inside the company :</a:t>
          </a:r>
          <a:endParaRPr lang="en-US"/>
        </a:p>
      </dgm:t>
    </dgm:pt>
    <dgm:pt modelId="{F3E3DA89-C8FA-4E1E-BC2A-8812E087A9D7}" type="parTrans" cxnId="{E2A45F64-B170-4F19-A37C-CE1FBE26C038}">
      <dgm:prSet/>
      <dgm:spPr/>
      <dgm:t>
        <a:bodyPr/>
        <a:lstStyle/>
        <a:p>
          <a:endParaRPr lang="en-US"/>
        </a:p>
      </dgm:t>
    </dgm:pt>
    <dgm:pt modelId="{E8C17691-5038-4E54-83EF-1770134A5EED}" type="sibTrans" cxnId="{E2A45F64-B170-4F19-A37C-CE1FBE26C038}">
      <dgm:prSet/>
      <dgm:spPr/>
      <dgm:t>
        <a:bodyPr/>
        <a:lstStyle/>
        <a:p>
          <a:endParaRPr lang="en-US"/>
        </a:p>
      </dgm:t>
    </dgm:pt>
    <dgm:pt modelId="{AE57E2A2-3C68-43DF-900E-1E97A14E23AD}">
      <dgm:prSet/>
      <dgm:spPr/>
      <dgm:t>
        <a:bodyPr/>
        <a:lstStyle/>
        <a:p>
          <a:pPr>
            <a:lnSpc>
              <a:spcPct val="100000"/>
            </a:lnSpc>
          </a:pPr>
          <a:r>
            <a:rPr lang="fr-FR"/>
            <a:t>Access</a:t>
          </a:r>
          <a:endParaRPr lang="en-US"/>
        </a:p>
      </dgm:t>
    </dgm:pt>
    <dgm:pt modelId="{3729E736-42EC-4A06-8A5A-CCD7E0B6FCAA}" type="parTrans" cxnId="{57EDEADD-9734-4E88-AE9F-480743C187AC}">
      <dgm:prSet/>
      <dgm:spPr/>
      <dgm:t>
        <a:bodyPr/>
        <a:lstStyle/>
        <a:p>
          <a:endParaRPr lang="en-US"/>
        </a:p>
      </dgm:t>
    </dgm:pt>
    <dgm:pt modelId="{5CEE4E5E-DE8E-46BA-AFB4-08EBA928099C}" type="sibTrans" cxnId="{57EDEADD-9734-4E88-AE9F-480743C187AC}">
      <dgm:prSet/>
      <dgm:spPr/>
      <dgm:t>
        <a:bodyPr/>
        <a:lstStyle/>
        <a:p>
          <a:endParaRPr lang="en-US"/>
        </a:p>
      </dgm:t>
    </dgm:pt>
    <dgm:pt modelId="{98F35EA0-E3AE-4808-97A1-B01C356297B1}">
      <dgm:prSet/>
      <dgm:spPr/>
      <dgm:t>
        <a:bodyPr/>
        <a:lstStyle/>
        <a:p>
          <a:pPr>
            <a:lnSpc>
              <a:spcPct val="100000"/>
            </a:lnSpc>
          </a:pPr>
          <a:r>
            <a:rPr lang="fr-FR"/>
            <a:t>Working on his personnality and the link the your sport (fan, practice, networks…)</a:t>
          </a:r>
          <a:endParaRPr lang="en-US"/>
        </a:p>
      </dgm:t>
    </dgm:pt>
    <dgm:pt modelId="{E660808C-4E75-4C1A-B951-7EBAABFB3E14}" type="parTrans" cxnId="{1E481509-C650-44F4-9341-FC74209AE91F}">
      <dgm:prSet/>
      <dgm:spPr/>
      <dgm:t>
        <a:bodyPr/>
        <a:lstStyle/>
        <a:p>
          <a:endParaRPr lang="en-US"/>
        </a:p>
      </dgm:t>
    </dgm:pt>
    <dgm:pt modelId="{1565DA5D-A099-41AA-BBC7-BD5CA940F83F}" type="sibTrans" cxnId="{1E481509-C650-44F4-9341-FC74209AE91F}">
      <dgm:prSet/>
      <dgm:spPr/>
      <dgm:t>
        <a:bodyPr/>
        <a:lstStyle/>
        <a:p>
          <a:endParaRPr lang="en-US"/>
        </a:p>
      </dgm:t>
    </dgm:pt>
    <dgm:pt modelId="{9E212E77-68FA-46E2-9F7D-67D4CA1489CA}" type="pres">
      <dgm:prSet presAssocID="{700E2AAB-13B7-41BD-951D-4FA402E9DCD8}" presName="root" presStyleCnt="0">
        <dgm:presLayoutVars>
          <dgm:dir/>
          <dgm:resizeHandles val="exact"/>
        </dgm:presLayoutVars>
      </dgm:prSet>
      <dgm:spPr/>
    </dgm:pt>
    <dgm:pt modelId="{6471AB39-9BC3-4B27-B632-F27131D92F52}" type="pres">
      <dgm:prSet presAssocID="{A304B689-075F-49F4-8DA6-7E0CE5253F2E}" presName="compNode" presStyleCnt="0"/>
      <dgm:spPr/>
    </dgm:pt>
    <dgm:pt modelId="{458832BA-DE03-4E42-BC21-DDF153822821}" type="pres">
      <dgm:prSet presAssocID="{A304B689-075F-49F4-8DA6-7E0CE5253F2E}" presName="bgRect" presStyleLbl="bgShp" presStyleIdx="0" presStyleCnt="6"/>
      <dgm:spPr/>
    </dgm:pt>
    <dgm:pt modelId="{42E71C4E-BDC1-416A-977D-A808E2A1AB54}" type="pres">
      <dgm:prSet presAssocID="{A304B689-075F-49F4-8DA6-7E0CE5253F2E}"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Image"/>
        </a:ext>
      </dgm:extLst>
    </dgm:pt>
    <dgm:pt modelId="{2CE7EE0F-3C4C-462D-ACFA-92DC04E1A2A6}" type="pres">
      <dgm:prSet presAssocID="{A304B689-075F-49F4-8DA6-7E0CE5253F2E}" presName="spaceRect" presStyleCnt="0"/>
      <dgm:spPr/>
    </dgm:pt>
    <dgm:pt modelId="{E39FF4B4-ADC3-42FB-9947-4E47664AB572}" type="pres">
      <dgm:prSet presAssocID="{A304B689-075F-49F4-8DA6-7E0CE5253F2E}" presName="parTx" presStyleLbl="revTx" presStyleIdx="0" presStyleCnt="7">
        <dgm:presLayoutVars>
          <dgm:chMax val="0"/>
          <dgm:chPref val="0"/>
        </dgm:presLayoutVars>
      </dgm:prSet>
      <dgm:spPr/>
    </dgm:pt>
    <dgm:pt modelId="{A2A92221-F542-4E5B-BD3B-22B1DEC0B4A6}" type="pres">
      <dgm:prSet presAssocID="{522A5FE9-DF22-4354-B0C2-8BEEF2CE2FF5}" presName="sibTrans" presStyleCnt="0"/>
      <dgm:spPr/>
    </dgm:pt>
    <dgm:pt modelId="{8EC04D45-223C-4199-A5D8-21C5C319ED9C}" type="pres">
      <dgm:prSet presAssocID="{5F3B978A-6CF7-4908-BFE3-3D3460C60988}" presName="compNode" presStyleCnt="0"/>
      <dgm:spPr/>
    </dgm:pt>
    <dgm:pt modelId="{701174D9-D451-45AB-BB54-CDA07F623186}" type="pres">
      <dgm:prSet presAssocID="{5F3B978A-6CF7-4908-BFE3-3D3460C60988}" presName="bgRect" presStyleLbl="bgShp" presStyleIdx="1" presStyleCnt="6"/>
      <dgm:spPr/>
    </dgm:pt>
    <dgm:pt modelId="{8992C48B-EB01-4EFB-AA24-A6C7460DCB20}" type="pres">
      <dgm:prSet presAssocID="{5F3B978A-6CF7-4908-BFE3-3D3460C60988}"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ullseye"/>
        </a:ext>
      </dgm:extLst>
    </dgm:pt>
    <dgm:pt modelId="{4B3ABE93-CF81-4CF0-AC2E-E1671B422D29}" type="pres">
      <dgm:prSet presAssocID="{5F3B978A-6CF7-4908-BFE3-3D3460C60988}" presName="spaceRect" presStyleCnt="0"/>
      <dgm:spPr/>
    </dgm:pt>
    <dgm:pt modelId="{653E7874-5DAB-43A7-BD27-50722AA127B9}" type="pres">
      <dgm:prSet presAssocID="{5F3B978A-6CF7-4908-BFE3-3D3460C60988}" presName="parTx" presStyleLbl="revTx" presStyleIdx="1" presStyleCnt="7">
        <dgm:presLayoutVars>
          <dgm:chMax val="0"/>
          <dgm:chPref val="0"/>
        </dgm:presLayoutVars>
      </dgm:prSet>
      <dgm:spPr/>
    </dgm:pt>
    <dgm:pt modelId="{3A1C7C4E-4B09-4B04-8941-88554C7A409F}" type="pres">
      <dgm:prSet presAssocID="{63FF5DE0-9483-49EB-BA42-7E827FCA8B83}" presName="sibTrans" presStyleCnt="0"/>
      <dgm:spPr/>
    </dgm:pt>
    <dgm:pt modelId="{D6100301-E216-4A63-A4D8-9D7E2561665A}" type="pres">
      <dgm:prSet presAssocID="{76C2A436-0C25-433F-A596-5F324E6719BE}" presName="compNode" presStyleCnt="0"/>
      <dgm:spPr/>
    </dgm:pt>
    <dgm:pt modelId="{1C95BCE9-8C0A-44E8-95A7-3586B1BC675B}" type="pres">
      <dgm:prSet presAssocID="{76C2A436-0C25-433F-A596-5F324E6719BE}" presName="bgRect" presStyleLbl="bgShp" presStyleIdx="2" presStyleCnt="6"/>
      <dgm:spPr/>
    </dgm:pt>
    <dgm:pt modelId="{83763686-8FDB-4F77-BA74-99DA81360695}" type="pres">
      <dgm:prSet presAssocID="{76C2A436-0C25-433F-A596-5F324E6719BE}"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Email"/>
        </a:ext>
      </dgm:extLst>
    </dgm:pt>
    <dgm:pt modelId="{A6AD527F-1D75-483B-A21F-EE3B9FC8C65B}" type="pres">
      <dgm:prSet presAssocID="{76C2A436-0C25-433F-A596-5F324E6719BE}" presName="spaceRect" presStyleCnt="0"/>
      <dgm:spPr/>
    </dgm:pt>
    <dgm:pt modelId="{EB53AB23-4E6E-46DF-B9D6-E081898DCCA1}" type="pres">
      <dgm:prSet presAssocID="{76C2A436-0C25-433F-A596-5F324E6719BE}" presName="parTx" presStyleLbl="revTx" presStyleIdx="2" presStyleCnt="7">
        <dgm:presLayoutVars>
          <dgm:chMax val="0"/>
          <dgm:chPref val="0"/>
        </dgm:presLayoutVars>
      </dgm:prSet>
      <dgm:spPr/>
    </dgm:pt>
    <dgm:pt modelId="{ABEACC72-4638-4126-8297-082E6A493EFE}" type="pres">
      <dgm:prSet presAssocID="{DA4A56A3-8BE8-4325-BF68-59A093F0A12D}" presName="sibTrans" presStyleCnt="0"/>
      <dgm:spPr/>
    </dgm:pt>
    <dgm:pt modelId="{22529726-7982-49C9-A014-D82FAA7BADFE}" type="pres">
      <dgm:prSet presAssocID="{D709AB22-67BE-44F5-8183-83242A950271}" presName="compNode" presStyleCnt="0"/>
      <dgm:spPr/>
    </dgm:pt>
    <dgm:pt modelId="{6B633597-7717-41BA-9E88-56CE05402A6F}" type="pres">
      <dgm:prSet presAssocID="{D709AB22-67BE-44F5-8183-83242A950271}" presName="bgRect" presStyleLbl="bgShp" presStyleIdx="3" presStyleCnt="6"/>
      <dgm:spPr/>
    </dgm:pt>
    <dgm:pt modelId="{17A92D41-1D91-4D10-B29F-BF25203790B5}" type="pres">
      <dgm:prSet presAssocID="{D709AB22-67BE-44F5-8183-83242A950271}"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Bitcoin"/>
        </a:ext>
      </dgm:extLst>
    </dgm:pt>
    <dgm:pt modelId="{5BD8BFCF-6A2A-4FF5-B77B-B00C4DEA5339}" type="pres">
      <dgm:prSet presAssocID="{D709AB22-67BE-44F5-8183-83242A950271}" presName="spaceRect" presStyleCnt="0"/>
      <dgm:spPr/>
    </dgm:pt>
    <dgm:pt modelId="{6A2BDD6B-27A0-432E-9A49-FFD471C315A8}" type="pres">
      <dgm:prSet presAssocID="{D709AB22-67BE-44F5-8183-83242A950271}" presName="parTx" presStyleLbl="revTx" presStyleIdx="3" presStyleCnt="7">
        <dgm:presLayoutVars>
          <dgm:chMax val="0"/>
          <dgm:chPref val="0"/>
        </dgm:presLayoutVars>
      </dgm:prSet>
      <dgm:spPr/>
    </dgm:pt>
    <dgm:pt modelId="{15279F74-A6D6-4101-85DD-0FAEA130FA11}" type="pres">
      <dgm:prSet presAssocID="{F9225DD0-6206-4487-B7EE-BD2F3454EB7A}" presName="sibTrans" presStyleCnt="0"/>
      <dgm:spPr/>
    </dgm:pt>
    <dgm:pt modelId="{9B99C5DA-2C36-4FD0-A7C4-2C40836D3C8E}" type="pres">
      <dgm:prSet presAssocID="{9E5BA825-EC45-4C46-9588-AF7F5A0A3495}" presName="compNode" presStyleCnt="0"/>
      <dgm:spPr/>
    </dgm:pt>
    <dgm:pt modelId="{9F1576BD-AA79-4FEE-AA22-1274248E60B9}" type="pres">
      <dgm:prSet presAssocID="{9E5BA825-EC45-4C46-9588-AF7F5A0A3495}" presName="bgRect" presStyleLbl="bgShp" presStyleIdx="4" presStyleCnt="6"/>
      <dgm:spPr/>
    </dgm:pt>
    <dgm:pt modelId="{EBF8701B-DB8E-40C1-8407-21F5A68BCE53}" type="pres">
      <dgm:prSet presAssocID="{9E5BA825-EC45-4C46-9588-AF7F5A0A3495}"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AA834670-2AE8-4A16-AFBD-FA1D25A10C07}" type="pres">
      <dgm:prSet presAssocID="{9E5BA825-EC45-4C46-9588-AF7F5A0A3495}" presName="spaceRect" presStyleCnt="0"/>
      <dgm:spPr/>
    </dgm:pt>
    <dgm:pt modelId="{E72CDA94-DC44-4D8E-9160-17F4E3562F9F}" type="pres">
      <dgm:prSet presAssocID="{9E5BA825-EC45-4C46-9588-AF7F5A0A3495}" presName="parTx" presStyleLbl="revTx" presStyleIdx="4" presStyleCnt="7">
        <dgm:presLayoutVars>
          <dgm:chMax val="0"/>
          <dgm:chPref val="0"/>
        </dgm:presLayoutVars>
      </dgm:prSet>
      <dgm:spPr/>
    </dgm:pt>
    <dgm:pt modelId="{F9351030-FF02-4D72-93F8-FFFA07E6A475}" type="pres">
      <dgm:prSet presAssocID="{CD8B5A6A-5BA8-4482-A2F4-3AB2F3E34C61}" presName="sibTrans" presStyleCnt="0"/>
      <dgm:spPr/>
    </dgm:pt>
    <dgm:pt modelId="{94E4AE41-D5F2-40A1-AE6E-E360CE15A54A}" type="pres">
      <dgm:prSet presAssocID="{0C25A6D4-12C3-42F9-96E2-9C1B7F969A7E}" presName="compNode" presStyleCnt="0"/>
      <dgm:spPr/>
    </dgm:pt>
    <dgm:pt modelId="{CEA08351-8766-4184-9A48-987F7D6C58BB}" type="pres">
      <dgm:prSet presAssocID="{0C25A6D4-12C3-42F9-96E2-9C1B7F969A7E}" presName="bgRect" presStyleLbl="bgShp" presStyleIdx="5" presStyleCnt="6"/>
      <dgm:spPr/>
    </dgm:pt>
    <dgm:pt modelId="{CDB0ECD1-73A6-40B6-9C0D-3A977E757E32}" type="pres">
      <dgm:prSet presAssocID="{0C25A6D4-12C3-42F9-96E2-9C1B7F969A7E}"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User Network"/>
        </a:ext>
      </dgm:extLst>
    </dgm:pt>
    <dgm:pt modelId="{63A5D974-F322-4CA0-982D-0E7DFD94A7C1}" type="pres">
      <dgm:prSet presAssocID="{0C25A6D4-12C3-42F9-96E2-9C1B7F969A7E}" presName="spaceRect" presStyleCnt="0"/>
      <dgm:spPr/>
    </dgm:pt>
    <dgm:pt modelId="{B79AFFC0-7915-4AC1-A33C-132C01D445FE}" type="pres">
      <dgm:prSet presAssocID="{0C25A6D4-12C3-42F9-96E2-9C1B7F969A7E}" presName="parTx" presStyleLbl="revTx" presStyleIdx="5" presStyleCnt="7">
        <dgm:presLayoutVars>
          <dgm:chMax val="0"/>
          <dgm:chPref val="0"/>
        </dgm:presLayoutVars>
      </dgm:prSet>
      <dgm:spPr/>
    </dgm:pt>
    <dgm:pt modelId="{273B2330-39CB-4DB7-B878-0ED4F0EE8B73}" type="pres">
      <dgm:prSet presAssocID="{0C25A6D4-12C3-42F9-96E2-9C1B7F969A7E}" presName="desTx" presStyleLbl="revTx" presStyleIdx="6" presStyleCnt="7">
        <dgm:presLayoutVars/>
      </dgm:prSet>
      <dgm:spPr/>
    </dgm:pt>
  </dgm:ptLst>
  <dgm:cxnLst>
    <dgm:cxn modelId="{1E481509-C650-44F4-9341-FC74209AE91F}" srcId="{0C25A6D4-12C3-42F9-96E2-9C1B7F969A7E}" destId="{98F35EA0-E3AE-4808-97A1-B01C356297B1}" srcOrd="1" destOrd="0" parTransId="{E660808C-4E75-4C1A-B951-7EBAABFB3E14}" sibTransId="{1565DA5D-A099-41AA-BBC7-BD5CA940F83F}"/>
    <dgm:cxn modelId="{5FB5480B-FA3F-4D15-A1D5-ADF16B73513D}" type="presOf" srcId="{0C25A6D4-12C3-42F9-96E2-9C1B7F969A7E}" destId="{B79AFFC0-7915-4AC1-A33C-132C01D445FE}" srcOrd="0" destOrd="0" presId="urn:microsoft.com/office/officeart/2018/2/layout/IconVerticalSolidList"/>
    <dgm:cxn modelId="{73263528-C856-49E2-AA46-B5A9D945E278}" type="presOf" srcId="{AE57E2A2-3C68-43DF-900E-1E97A14E23AD}" destId="{273B2330-39CB-4DB7-B878-0ED4F0EE8B73}" srcOrd="0" destOrd="0" presId="urn:microsoft.com/office/officeart/2018/2/layout/IconVerticalSolidList"/>
    <dgm:cxn modelId="{72CDBF37-FF39-46A7-830B-7614D6C5C5D7}" type="presOf" srcId="{D709AB22-67BE-44F5-8183-83242A950271}" destId="{6A2BDD6B-27A0-432E-9A49-FFD471C315A8}" srcOrd="0" destOrd="0" presId="urn:microsoft.com/office/officeart/2018/2/layout/IconVerticalSolidList"/>
    <dgm:cxn modelId="{E2A45F64-B170-4F19-A37C-CE1FBE26C038}" srcId="{700E2AAB-13B7-41BD-951D-4FA402E9DCD8}" destId="{0C25A6D4-12C3-42F9-96E2-9C1B7F969A7E}" srcOrd="5" destOrd="0" parTransId="{F3E3DA89-C8FA-4E1E-BC2A-8812E087A9D7}" sibTransId="{E8C17691-5038-4E54-83EF-1770134A5EED}"/>
    <dgm:cxn modelId="{78DF1966-7FE4-4A10-B81B-AA000AACA829}" type="presOf" srcId="{76C2A436-0C25-433F-A596-5F324E6719BE}" destId="{EB53AB23-4E6E-46DF-B9D6-E081898DCCA1}" srcOrd="0" destOrd="0" presId="urn:microsoft.com/office/officeart/2018/2/layout/IconVerticalSolidList"/>
    <dgm:cxn modelId="{34869656-8FE2-4DB8-9F2A-C7BA6217D9E9}" srcId="{700E2AAB-13B7-41BD-951D-4FA402E9DCD8}" destId="{A304B689-075F-49F4-8DA6-7E0CE5253F2E}" srcOrd="0" destOrd="0" parTransId="{E4318921-00D7-41B2-9297-8184F0C85678}" sibTransId="{522A5FE9-DF22-4354-B0C2-8BEEF2CE2FF5}"/>
    <dgm:cxn modelId="{81C13E85-E434-4BCE-9A18-E6681E1E8185}" srcId="{700E2AAB-13B7-41BD-951D-4FA402E9DCD8}" destId="{D709AB22-67BE-44F5-8183-83242A950271}" srcOrd="3" destOrd="0" parTransId="{90D81961-52A4-457A-871C-BBB67A1C3FA7}" sibTransId="{F9225DD0-6206-4487-B7EE-BD2F3454EB7A}"/>
    <dgm:cxn modelId="{6DAF8A92-0F36-4564-B77A-90EE7F6E7B3D}" type="presOf" srcId="{A304B689-075F-49F4-8DA6-7E0CE5253F2E}" destId="{E39FF4B4-ADC3-42FB-9947-4E47664AB572}" srcOrd="0" destOrd="0" presId="urn:microsoft.com/office/officeart/2018/2/layout/IconVerticalSolidList"/>
    <dgm:cxn modelId="{1F5A03A1-2614-4F3A-AC27-3121A9F41915}" type="presOf" srcId="{98F35EA0-E3AE-4808-97A1-B01C356297B1}" destId="{273B2330-39CB-4DB7-B878-0ED4F0EE8B73}" srcOrd="0" destOrd="1" presId="urn:microsoft.com/office/officeart/2018/2/layout/IconVerticalSolidList"/>
    <dgm:cxn modelId="{8949C8A7-71FB-4EB1-91F0-83B2AF41C8CA}" type="presOf" srcId="{9E5BA825-EC45-4C46-9588-AF7F5A0A3495}" destId="{E72CDA94-DC44-4D8E-9160-17F4E3562F9F}" srcOrd="0" destOrd="0" presId="urn:microsoft.com/office/officeart/2018/2/layout/IconVerticalSolidList"/>
    <dgm:cxn modelId="{EE6161A9-CFCB-4F9C-B7FA-FC4B7F395E12}" srcId="{700E2AAB-13B7-41BD-951D-4FA402E9DCD8}" destId="{5F3B978A-6CF7-4908-BFE3-3D3460C60988}" srcOrd="1" destOrd="0" parTransId="{0222DF23-5545-4FF2-AB28-DD37D9E41C33}" sibTransId="{63FF5DE0-9483-49EB-BA42-7E827FCA8B83}"/>
    <dgm:cxn modelId="{FA6BBDB7-C89E-42DA-B8DF-48A4517DE652}" srcId="{700E2AAB-13B7-41BD-951D-4FA402E9DCD8}" destId="{76C2A436-0C25-433F-A596-5F324E6719BE}" srcOrd="2" destOrd="0" parTransId="{8A174BEB-E520-488C-A1A8-513E0417000E}" sibTransId="{DA4A56A3-8BE8-4325-BF68-59A093F0A12D}"/>
    <dgm:cxn modelId="{9E5FEEC3-78F5-4B7C-8D3F-9E39AFE8CD65}" type="presOf" srcId="{700E2AAB-13B7-41BD-951D-4FA402E9DCD8}" destId="{9E212E77-68FA-46E2-9F7D-67D4CA1489CA}" srcOrd="0" destOrd="0" presId="urn:microsoft.com/office/officeart/2018/2/layout/IconVerticalSolidList"/>
    <dgm:cxn modelId="{C8E302D7-E961-4E09-BD97-D10AE5A52198}" srcId="{700E2AAB-13B7-41BD-951D-4FA402E9DCD8}" destId="{9E5BA825-EC45-4C46-9588-AF7F5A0A3495}" srcOrd="4" destOrd="0" parTransId="{8605B121-42E5-43EC-AE37-F4F63D631E32}" sibTransId="{CD8B5A6A-5BA8-4482-A2F4-3AB2F3E34C61}"/>
    <dgm:cxn modelId="{57EDEADD-9734-4E88-AE9F-480743C187AC}" srcId="{0C25A6D4-12C3-42F9-96E2-9C1B7F969A7E}" destId="{AE57E2A2-3C68-43DF-900E-1E97A14E23AD}" srcOrd="0" destOrd="0" parTransId="{3729E736-42EC-4A06-8A5A-CCD7E0B6FCAA}" sibTransId="{5CEE4E5E-DE8E-46BA-AFB4-08EBA928099C}"/>
    <dgm:cxn modelId="{B16A6EEB-93E6-4B40-B159-261C89A591F4}" type="presOf" srcId="{5F3B978A-6CF7-4908-BFE3-3D3460C60988}" destId="{653E7874-5DAB-43A7-BD27-50722AA127B9}" srcOrd="0" destOrd="0" presId="urn:microsoft.com/office/officeart/2018/2/layout/IconVerticalSolidList"/>
    <dgm:cxn modelId="{93A9289C-6258-43E2-B437-A062295D5A20}" type="presParOf" srcId="{9E212E77-68FA-46E2-9F7D-67D4CA1489CA}" destId="{6471AB39-9BC3-4B27-B632-F27131D92F52}" srcOrd="0" destOrd="0" presId="urn:microsoft.com/office/officeart/2018/2/layout/IconVerticalSolidList"/>
    <dgm:cxn modelId="{3DF3951C-3BFE-46A8-ACA4-65B9EB1E1DB5}" type="presParOf" srcId="{6471AB39-9BC3-4B27-B632-F27131D92F52}" destId="{458832BA-DE03-4E42-BC21-DDF153822821}" srcOrd="0" destOrd="0" presId="urn:microsoft.com/office/officeart/2018/2/layout/IconVerticalSolidList"/>
    <dgm:cxn modelId="{65270314-F40B-4178-9ACA-BB651D339865}" type="presParOf" srcId="{6471AB39-9BC3-4B27-B632-F27131D92F52}" destId="{42E71C4E-BDC1-416A-977D-A808E2A1AB54}" srcOrd="1" destOrd="0" presId="urn:microsoft.com/office/officeart/2018/2/layout/IconVerticalSolidList"/>
    <dgm:cxn modelId="{35D9624A-A559-4B08-BA2D-C8E7F27567EF}" type="presParOf" srcId="{6471AB39-9BC3-4B27-B632-F27131D92F52}" destId="{2CE7EE0F-3C4C-462D-ACFA-92DC04E1A2A6}" srcOrd="2" destOrd="0" presId="urn:microsoft.com/office/officeart/2018/2/layout/IconVerticalSolidList"/>
    <dgm:cxn modelId="{97A79C61-7FF6-4AAC-B7B6-876442DFCC1A}" type="presParOf" srcId="{6471AB39-9BC3-4B27-B632-F27131D92F52}" destId="{E39FF4B4-ADC3-42FB-9947-4E47664AB572}" srcOrd="3" destOrd="0" presId="urn:microsoft.com/office/officeart/2018/2/layout/IconVerticalSolidList"/>
    <dgm:cxn modelId="{B7C04F10-FDC2-4CE3-B521-CF345DAA9278}" type="presParOf" srcId="{9E212E77-68FA-46E2-9F7D-67D4CA1489CA}" destId="{A2A92221-F542-4E5B-BD3B-22B1DEC0B4A6}" srcOrd="1" destOrd="0" presId="urn:microsoft.com/office/officeart/2018/2/layout/IconVerticalSolidList"/>
    <dgm:cxn modelId="{C4D430F7-5F9D-4AB0-B14D-73B38CC23B3A}" type="presParOf" srcId="{9E212E77-68FA-46E2-9F7D-67D4CA1489CA}" destId="{8EC04D45-223C-4199-A5D8-21C5C319ED9C}" srcOrd="2" destOrd="0" presId="urn:microsoft.com/office/officeart/2018/2/layout/IconVerticalSolidList"/>
    <dgm:cxn modelId="{D57A0915-AB87-4601-B9A7-18E543F4D09D}" type="presParOf" srcId="{8EC04D45-223C-4199-A5D8-21C5C319ED9C}" destId="{701174D9-D451-45AB-BB54-CDA07F623186}" srcOrd="0" destOrd="0" presId="urn:microsoft.com/office/officeart/2018/2/layout/IconVerticalSolidList"/>
    <dgm:cxn modelId="{8775E640-FDBE-4017-B75F-39DCE16BF782}" type="presParOf" srcId="{8EC04D45-223C-4199-A5D8-21C5C319ED9C}" destId="{8992C48B-EB01-4EFB-AA24-A6C7460DCB20}" srcOrd="1" destOrd="0" presId="urn:microsoft.com/office/officeart/2018/2/layout/IconVerticalSolidList"/>
    <dgm:cxn modelId="{0B343EB1-5470-4359-90EA-A986FB8BD773}" type="presParOf" srcId="{8EC04D45-223C-4199-A5D8-21C5C319ED9C}" destId="{4B3ABE93-CF81-4CF0-AC2E-E1671B422D29}" srcOrd="2" destOrd="0" presId="urn:microsoft.com/office/officeart/2018/2/layout/IconVerticalSolidList"/>
    <dgm:cxn modelId="{4BC548D5-A93D-4F06-A0A6-5E1D5306E581}" type="presParOf" srcId="{8EC04D45-223C-4199-A5D8-21C5C319ED9C}" destId="{653E7874-5DAB-43A7-BD27-50722AA127B9}" srcOrd="3" destOrd="0" presId="urn:microsoft.com/office/officeart/2018/2/layout/IconVerticalSolidList"/>
    <dgm:cxn modelId="{1DA0428F-C811-41DE-A79D-819ACAC8D3F1}" type="presParOf" srcId="{9E212E77-68FA-46E2-9F7D-67D4CA1489CA}" destId="{3A1C7C4E-4B09-4B04-8941-88554C7A409F}" srcOrd="3" destOrd="0" presId="urn:microsoft.com/office/officeart/2018/2/layout/IconVerticalSolidList"/>
    <dgm:cxn modelId="{B7EAEFCF-FCD2-45A5-8AA4-6CBAD736E62A}" type="presParOf" srcId="{9E212E77-68FA-46E2-9F7D-67D4CA1489CA}" destId="{D6100301-E216-4A63-A4D8-9D7E2561665A}" srcOrd="4" destOrd="0" presId="urn:microsoft.com/office/officeart/2018/2/layout/IconVerticalSolidList"/>
    <dgm:cxn modelId="{AC6D0419-7C3F-40E6-8CE8-51AC7EFCC059}" type="presParOf" srcId="{D6100301-E216-4A63-A4D8-9D7E2561665A}" destId="{1C95BCE9-8C0A-44E8-95A7-3586B1BC675B}" srcOrd="0" destOrd="0" presId="urn:microsoft.com/office/officeart/2018/2/layout/IconVerticalSolidList"/>
    <dgm:cxn modelId="{8C5EFF2B-B897-411B-80BE-7AB45413E19B}" type="presParOf" srcId="{D6100301-E216-4A63-A4D8-9D7E2561665A}" destId="{83763686-8FDB-4F77-BA74-99DA81360695}" srcOrd="1" destOrd="0" presId="urn:microsoft.com/office/officeart/2018/2/layout/IconVerticalSolidList"/>
    <dgm:cxn modelId="{6AF52CB1-BD5D-4C5F-83C3-F9BAA6447B17}" type="presParOf" srcId="{D6100301-E216-4A63-A4D8-9D7E2561665A}" destId="{A6AD527F-1D75-483B-A21F-EE3B9FC8C65B}" srcOrd="2" destOrd="0" presId="urn:microsoft.com/office/officeart/2018/2/layout/IconVerticalSolidList"/>
    <dgm:cxn modelId="{E6C0E5E3-6959-4A07-9574-FC7FFA87ECE0}" type="presParOf" srcId="{D6100301-E216-4A63-A4D8-9D7E2561665A}" destId="{EB53AB23-4E6E-46DF-B9D6-E081898DCCA1}" srcOrd="3" destOrd="0" presId="urn:microsoft.com/office/officeart/2018/2/layout/IconVerticalSolidList"/>
    <dgm:cxn modelId="{C7020B5C-F2CF-4B7B-BD13-0F435225AE50}" type="presParOf" srcId="{9E212E77-68FA-46E2-9F7D-67D4CA1489CA}" destId="{ABEACC72-4638-4126-8297-082E6A493EFE}" srcOrd="5" destOrd="0" presId="urn:microsoft.com/office/officeart/2018/2/layout/IconVerticalSolidList"/>
    <dgm:cxn modelId="{F1457562-8F94-4B63-9EF3-A2914D04A8FD}" type="presParOf" srcId="{9E212E77-68FA-46E2-9F7D-67D4CA1489CA}" destId="{22529726-7982-49C9-A014-D82FAA7BADFE}" srcOrd="6" destOrd="0" presId="urn:microsoft.com/office/officeart/2018/2/layout/IconVerticalSolidList"/>
    <dgm:cxn modelId="{CCF6705C-FD33-4695-ABE5-FF69E0BA7993}" type="presParOf" srcId="{22529726-7982-49C9-A014-D82FAA7BADFE}" destId="{6B633597-7717-41BA-9E88-56CE05402A6F}" srcOrd="0" destOrd="0" presId="urn:microsoft.com/office/officeart/2018/2/layout/IconVerticalSolidList"/>
    <dgm:cxn modelId="{AA31279E-C9AD-49B5-B382-A47A8E8032A2}" type="presParOf" srcId="{22529726-7982-49C9-A014-D82FAA7BADFE}" destId="{17A92D41-1D91-4D10-B29F-BF25203790B5}" srcOrd="1" destOrd="0" presId="urn:microsoft.com/office/officeart/2018/2/layout/IconVerticalSolidList"/>
    <dgm:cxn modelId="{1701DEFE-F2AF-407C-B495-251418F01378}" type="presParOf" srcId="{22529726-7982-49C9-A014-D82FAA7BADFE}" destId="{5BD8BFCF-6A2A-4FF5-B77B-B00C4DEA5339}" srcOrd="2" destOrd="0" presId="urn:microsoft.com/office/officeart/2018/2/layout/IconVerticalSolidList"/>
    <dgm:cxn modelId="{D0CB13FE-DF99-4A47-B87A-F6986DB65865}" type="presParOf" srcId="{22529726-7982-49C9-A014-D82FAA7BADFE}" destId="{6A2BDD6B-27A0-432E-9A49-FFD471C315A8}" srcOrd="3" destOrd="0" presId="urn:microsoft.com/office/officeart/2018/2/layout/IconVerticalSolidList"/>
    <dgm:cxn modelId="{7BE8EA56-B49F-4D2E-8B04-58FDB01E9E3F}" type="presParOf" srcId="{9E212E77-68FA-46E2-9F7D-67D4CA1489CA}" destId="{15279F74-A6D6-4101-85DD-0FAEA130FA11}" srcOrd="7" destOrd="0" presId="urn:microsoft.com/office/officeart/2018/2/layout/IconVerticalSolidList"/>
    <dgm:cxn modelId="{65F61E05-7CC2-46D9-8869-1E750EA9D5B1}" type="presParOf" srcId="{9E212E77-68FA-46E2-9F7D-67D4CA1489CA}" destId="{9B99C5DA-2C36-4FD0-A7C4-2C40836D3C8E}" srcOrd="8" destOrd="0" presId="urn:microsoft.com/office/officeart/2018/2/layout/IconVerticalSolidList"/>
    <dgm:cxn modelId="{A28770E8-AA16-4CAB-91D3-EB88C8A9B9E9}" type="presParOf" srcId="{9B99C5DA-2C36-4FD0-A7C4-2C40836D3C8E}" destId="{9F1576BD-AA79-4FEE-AA22-1274248E60B9}" srcOrd="0" destOrd="0" presId="urn:microsoft.com/office/officeart/2018/2/layout/IconVerticalSolidList"/>
    <dgm:cxn modelId="{7A19E102-6E78-4B17-9D80-CDE554AC7921}" type="presParOf" srcId="{9B99C5DA-2C36-4FD0-A7C4-2C40836D3C8E}" destId="{EBF8701B-DB8E-40C1-8407-21F5A68BCE53}" srcOrd="1" destOrd="0" presId="urn:microsoft.com/office/officeart/2018/2/layout/IconVerticalSolidList"/>
    <dgm:cxn modelId="{A923BE6F-0184-4A71-820F-454C58B3D305}" type="presParOf" srcId="{9B99C5DA-2C36-4FD0-A7C4-2C40836D3C8E}" destId="{AA834670-2AE8-4A16-AFBD-FA1D25A10C07}" srcOrd="2" destOrd="0" presId="urn:microsoft.com/office/officeart/2018/2/layout/IconVerticalSolidList"/>
    <dgm:cxn modelId="{4A42F211-7DB5-4AFD-B823-E25F7033C5C6}" type="presParOf" srcId="{9B99C5DA-2C36-4FD0-A7C4-2C40836D3C8E}" destId="{E72CDA94-DC44-4D8E-9160-17F4E3562F9F}" srcOrd="3" destOrd="0" presId="urn:microsoft.com/office/officeart/2018/2/layout/IconVerticalSolidList"/>
    <dgm:cxn modelId="{E730FDF7-93B1-453B-BDF2-D13A270356DF}" type="presParOf" srcId="{9E212E77-68FA-46E2-9F7D-67D4CA1489CA}" destId="{F9351030-FF02-4D72-93F8-FFFA07E6A475}" srcOrd="9" destOrd="0" presId="urn:microsoft.com/office/officeart/2018/2/layout/IconVerticalSolidList"/>
    <dgm:cxn modelId="{804B1C98-B5B5-40C3-A9B4-AB04367435A2}" type="presParOf" srcId="{9E212E77-68FA-46E2-9F7D-67D4CA1489CA}" destId="{94E4AE41-D5F2-40A1-AE6E-E360CE15A54A}" srcOrd="10" destOrd="0" presId="urn:microsoft.com/office/officeart/2018/2/layout/IconVerticalSolidList"/>
    <dgm:cxn modelId="{559536BF-3FFD-41B3-BB01-83F0ED599897}" type="presParOf" srcId="{94E4AE41-D5F2-40A1-AE6E-E360CE15A54A}" destId="{CEA08351-8766-4184-9A48-987F7D6C58BB}" srcOrd="0" destOrd="0" presId="urn:microsoft.com/office/officeart/2018/2/layout/IconVerticalSolidList"/>
    <dgm:cxn modelId="{C00838FC-3B6D-4D80-930E-DE32CF8E355F}" type="presParOf" srcId="{94E4AE41-D5F2-40A1-AE6E-E360CE15A54A}" destId="{CDB0ECD1-73A6-40B6-9C0D-3A977E757E32}" srcOrd="1" destOrd="0" presId="urn:microsoft.com/office/officeart/2018/2/layout/IconVerticalSolidList"/>
    <dgm:cxn modelId="{AF06F625-EDA6-495B-9F17-13A062109A73}" type="presParOf" srcId="{94E4AE41-D5F2-40A1-AE6E-E360CE15A54A}" destId="{63A5D974-F322-4CA0-982D-0E7DFD94A7C1}" srcOrd="2" destOrd="0" presId="urn:microsoft.com/office/officeart/2018/2/layout/IconVerticalSolidList"/>
    <dgm:cxn modelId="{58B172A3-AC23-4B65-89B9-10A850BDE9B3}" type="presParOf" srcId="{94E4AE41-D5F2-40A1-AE6E-E360CE15A54A}" destId="{B79AFFC0-7915-4AC1-A33C-132C01D445FE}" srcOrd="3" destOrd="0" presId="urn:microsoft.com/office/officeart/2018/2/layout/IconVerticalSolidList"/>
    <dgm:cxn modelId="{7214DA17-1250-40FF-BC39-8F1194FFEDC7}" type="presParOf" srcId="{94E4AE41-D5F2-40A1-AE6E-E360CE15A54A}" destId="{273B2330-39CB-4DB7-B878-0ED4F0EE8B73}" srcOrd="4"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862361E-C091-4CCB-87BB-FBCC575A21CF}" type="doc">
      <dgm:prSet loTypeId="urn:microsoft.com/office/officeart/2008/layout/LinedList" loCatId="list" qsTypeId="urn:microsoft.com/office/officeart/2005/8/quickstyle/simple4" qsCatId="simple" csTypeId="urn:microsoft.com/office/officeart/2005/8/colors/accent0_3" csCatId="mainScheme" phldr="1"/>
      <dgm:spPr/>
      <dgm:t>
        <a:bodyPr/>
        <a:lstStyle/>
        <a:p>
          <a:endParaRPr lang="en-US"/>
        </a:p>
      </dgm:t>
    </dgm:pt>
    <dgm:pt modelId="{9616D77E-2DBE-4BC8-9E6B-33CDB60A2D87}">
      <dgm:prSet/>
      <dgm:spPr/>
      <dgm:t>
        <a:bodyPr/>
        <a:lstStyle/>
        <a:p>
          <a:r>
            <a:rPr lang="fr-FR" b="1"/>
            <a:t>Teasing « who you are » / your difference / Brand Values </a:t>
          </a:r>
          <a:r>
            <a:rPr lang="fr-FR" b="1">
              <a:sym typeface="Wingdings" panose="05000000000000000000" pitchFamily="2" charset="2"/>
            </a:rPr>
            <a:t></a:t>
          </a:r>
          <a:r>
            <a:rPr lang="fr-FR" b="1"/>
            <a:t> YOUR VALUE PROPOSITIONS (video is usefull)</a:t>
          </a:r>
          <a:endParaRPr lang="en-US"/>
        </a:p>
      </dgm:t>
    </dgm:pt>
    <dgm:pt modelId="{46481D13-19E7-41FF-BA9E-2C4281BC976D}" type="parTrans" cxnId="{767ECACF-8FFD-4BA4-ACCC-71A8DF707EBE}">
      <dgm:prSet/>
      <dgm:spPr/>
      <dgm:t>
        <a:bodyPr/>
        <a:lstStyle/>
        <a:p>
          <a:endParaRPr lang="en-US"/>
        </a:p>
      </dgm:t>
    </dgm:pt>
    <dgm:pt modelId="{966D9E42-A335-4362-B52C-C00659CBC031}" type="sibTrans" cxnId="{767ECACF-8FFD-4BA4-ACCC-71A8DF707EBE}">
      <dgm:prSet/>
      <dgm:spPr/>
      <dgm:t>
        <a:bodyPr/>
        <a:lstStyle/>
        <a:p>
          <a:endParaRPr lang="en-US"/>
        </a:p>
      </dgm:t>
    </dgm:pt>
    <dgm:pt modelId="{2FF57C87-4ED8-4B89-B79B-370D346E515D}">
      <dgm:prSet/>
      <dgm:spPr/>
      <dgm:t>
        <a:bodyPr/>
        <a:lstStyle/>
        <a:p>
          <a:r>
            <a:rPr lang="fr-FR" b="1"/>
            <a:t>Business Target : Industry/Common Values/Sensemaking reason to activate</a:t>
          </a:r>
          <a:r>
            <a:rPr lang="fr-FR" b="1">
              <a:sym typeface="Wingdings" panose="05000000000000000000" pitchFamily="2" charset="2"/>
            </a:rPr>
            <a:t></a:t>
          </a:r>
          <a:r>
            <a:rPr lang="fr-FR" b="1"/>
            <a:t> personnal relationnal INTRODUCTION (who/how/when…)</a:t>
          </a:r>
          <a:endParaRPr lang="en-US"/>
        </a:p>
      </dgm:t>
    </dgm:pt>
    <dgm:pt modelId="{843F8288-A08D-4F1E-B431-2D869E8C48C9}" type="parTrans" cxnId="{4A2A592A-B354-4E68-8490-19C78453C5B0}">
      <dgm:prSet/>
      <dgm:spPr/>
      <dgm:t>
        <a:bodyPr/>
        <a:lstStyle/>
        <a:p>
          <a:endParaRPr lang="en-US"/>
        </a:p>
      </dgm:t>
    </dgm:pt>
    <dgm:pt modelId="{A5F97FDE-567C-4D1E-9A53-15B654118329}" type="sibTrans" cxnId="{4A2A592A-B354-4E68-8490-19C78453C5B0}">
      <dgm:prSet/>
      <dgm:spPr/>
      <dgm:t>
        <a:bodyPr/>
        <a:lstStyle/>
        <a:p>
          <a:endParaRPr lang="en-US"/>
        </a:p>
      </dgm:t>
    </dgm:pt>
    <dgm:pt modelId="{E3C85198-4BE1-4890-8F26-15ECA4DF56A0}">
      <dgm:prSet/>
      <dgm:spPr/>
      <dgm:t>
        <a:bodyPr/>
        <a:lstStyle/>
        <a:p>
          <a:r>
            <a:rPr lang="fr-FR" b="1"/>
            <a:t>Activations program : VREE / Justify your fit with your sponsors needs/Cost-Benefit</a:t>
          </a:r>
          <a:r>
            <a:rPr lang="fr-FR" b="1">
              <a:sym typeface="Wingdings" panose="05000000000000000000" pitchFamily="2" charset="2"/>
            </a:rPr>
            <a:t></a:t>
          </a:r>
          <a:r>
            <a:rPr lang="fr-FR" b="1"/>
            <a:t> VALUE PROPOSITIONS FOR yOUR CLIENT</a:t>
          </a:r>
          <a:endParaRPr lang="en-US"/>
        </a:p>
      </dgm:t>
    </dgm:pt>
    <dgm:pt modelId="{B74B72E9-3BB1-4A8F-A9FB-5827D75DCE92}" type="parTrans" cxnId="{5CD8BB66-C490-4C94-87F2-9E8BB70851FC}">
      <dgm:prSet/>
      <dgm:spPr/>
      <dgm:t>
        <a:bodyPr/>
        <a:lstStyle/>
        <a:p>
          <a:endParaRPr lang="en-US"/>
        </a:p>
      </dgm:t>
    </dgm:pt>
    <dgm:pt modelId="{9944C48D-4142-4285-B4EC-056A465C0383}" type="sibTrans" cxnId="{5CD8BB66-C490-4C94-87F2-9E8BB70851FC}">
      <dgm:prSet/>
      <dgm:spPr/>
      <dgm:t>
        <a:bodyPr/>
        <a:lstStyle/>
        <a:p>
          <a:endParaRPr lang="en-US"/>
        </a:p>
      </dgm:t>
    </dgm:pt>
    <dgm:pt modelId="{AC4E4C48-D21D-4A66-A59B-1BB9E65CE13E}">
      <dgm:prSet/>
      <dgm:spPr/>
      <dgm:t>
        <a:bodyPr/>
        <a:lstStyle/>
        <a:p>
          <a:r>
            <a:rPr lang="fr-FR" b="1"/>
            <a:t>VALUE CREATION : How to measure ROO or ROI ? </a:t>
          </a:r>
          <a:endParaRPr lang="en-US"/>
        </a:p>
      </dgm:t>
    </dgm:pt>
    <dgm:pt modelId="{D5EEC2E3-08F1-4F62-8699-722FF65F5870}" type="parTrans" cxnId="{5D777327-6BE6-4AD7-9BE7-4C7D0ED3742C}">
      <dgm:prSet/>
      <dgm:spPr/>
      <dgm:t>
        <a:bodyPr/>
        <a:lstStyle/>
        <a:p>
          <a:endParaRPr lang="en-US"/>
        </a:p>
      </dgm:t>
    </dgm:pt>
    <dgm:pt modelId="{C504455B-C77C-42FA-BEBE-F1BF4EADA946}" type="sibTrans" cxnId="{5D777327-6BE6-4AD7-9BE7-4C7D0ED3742C}">
      <dgm:prSet/>
      <dgm:spPr/>
      <dgm:t>
        <a:bodyPr/>
        <a:lstStyle/>
        <a:p>
          <a:endParaRPr lang="en-US"/>
        </a:p>
      </dgm:t>
    </dgm:pt>
    <dgm:pt modelId="{F8C3A0BC-5815-49D6-8632-5A134B5BA3C9}">
      <dgm:prSet/>
      <dgm:spPr/>
      <dgm:t>
        <a:bodyPr/>
        <a:lstStyle/>
        <a:p>
          <a:r>
            <a:rPr lang="fr-FR" b="1"/>
            <a:t>Packs and Pricing </a:t>
          </a:r>
          <a:endParaRPr lang="en-US"/>
        </a:p>
      </dgm:t>
    </dgm:pt>
    <dgm:pt modelId="{8DF262A6-A32F-4644-A794-3BB245B13F16}" type="parTrans" cxnId="{8D2640B1-784A-4FF4-8A91-F5EA2D0E02F3}">
      <dgm:prSet/>
      <dgm:spPr/>
      <dgm:t>
        <a:bodyPr/>
        <a:lstStyle/>
        <a:p>
          <a:endParaRPr lang="en-US"/>
        </a:p>
      </dgm:t>
    </dgm:pt>
    <dgm:pt modelId="{2A09DDD9-57EE-4C64-BB84-7CCFDF2024BB}" type="sibTrans" cxnId="{8D2640B1-784A-4FF4-8A91-F5EA2D0E02F3}">
      <dgm:prSet/>
      <dgm:spPr/>
      <dgm:t>
        <a:bodyPr/>
        <a:lstStyle/>
        <a:p>
          <a:endParaRPr lang="en-US"/>
        </a:p>
      </dgm:t>
    </dgm:pt>
    <dgm:pt modelId="{88129F55-C187-4E8F-B918-AECB2BEDE594}" type="pres">
      <dgm:prSet presAssocID="{0862361E-C091-4CCB-87BB-FBCC575A21CF}" presName="vert0" presStyleCnt="0">
        <dgm:presLayoutVars>
          <dgm:dir/>
          <dgm:animOne val="branch"/>
          <dgm:animLvl val="lvl"/>
        </dgm:presLayoutVars>
      </dgm:prSet>
      <dgm:spPr/>
    </dgm:pt>
    <dgm:pt modelId="{3CA614BB-8BAC-40A8-8728-4A4DAC2E7B9D}" type="pres">
      <dgm:prSet presAssocID="{9616D77E-2DBE-4BC8-9E6B-33CDB60A2D87}" presName="thickLine" presStyleLbl="alignNode1" presStyleIdx="0" presStyleCnt="5"/>
      <dgm:spPr/>
    </dgm:pt>
    <dgm:pt modelId="{8E49B564-B949-43DA-9799-A343F882E96A}" type="pres">
      <dgm:prSet presAssocID="{9616D77E-2DBE-4BC8-9E6B-33CDB60A2D87}" presName="horz1" presStyleCnt="0"/>
      <dgm:spPr/>
    </dgm:pt>
    <dgm:pt modelId="{F7861CF6-E776-4A93-A8DA-0CC64DC6FB76}" type="pres">
      <dgm:prSet presAssocID="{9616D77E-2DBE-4BC8-9E6B-33CDB60A2D87}" presName="tx1" presStyleLbl="revTx" presStyleIdx="0" presStyleCnt="5"/>
      <dgm:spPr/>
    </dgm:pt>
    <dgm:pt modelId="{B3598CD9-81B1-402C-A28B-429E1A362BED}" type="pres">
      <dgm:prSet presAssocID="{9616D77E-2DBE-4BC8-9E6B-33CDB60A2D87}" presName="vert1" presStyleCnt="0"/>
      <dgm:spPr/>
    </dgm:pt>
    <dgm:pt modelId="{672DB8E0-6227-4E8B-A449-980DD9A26D68}" type="pres">
      <dgm:prSet presAssocID="{2FF57C87-4ED8-4B89-B79B-370D346E515D}" presName="thickLine" presStyleLbl="alignNode1" presStyleIdx="1" presStyleCnt="5"/>
      <dgm:spPr/>
    </dgm:pt>
    <dgm:pt modelId="{E92BEC60-0EB7-4B5F-BDD3-B0FD78B357FB}" type="pres">
      <dgm:prSet presAssocID="{2FF57C87-4ED8-4B89-B79B-370D346E515D}" presName="horz1" presStyleCnt="0"/>
      <dgm:spPr/>
    </dgm:pt>
    <dgm:pt modelId="{BFD25140-9E73-4799-853E-921BE84646AB}" type="pres">
      <dgm:prSet presAssocID="{2FF57C87-4ED8-4B89-B79B-370D346E515D}" presName="tx1" presStyleLbl="revTx" presStyleIdx="1" presStyleCnt="5"/>
      <dgm:spPr/>
    </dgm:pt>
    <dgm:pt modelId="{3EDF2C60-AA1D-41C2-8B08-E8B760F92912}" type="pres">
      <dgm:prSet presAssocID="{2FF57C87-4ED8-4B89-B79B-370D346E515D}" presName="vert1" presStyleCnt="0"/>
      <dgm:spPr/>
    </dgm:pt>
    <dgm:pt modelId="{6FC59ED3-5377-4BF2-ABC7-1CC1B3300A2F}" type="pres">
      <dgm:prSet presAssocID="{E3C85198-4BE1-4890-8F26-15ECA4DF56A0}" presName="thickLine" presStyleLbl="alignNode1" presStyleIdx="2" presStyleCnt="5"/>
      <dgm:spPr/>
    </dgm:pt>
    <dgm:pt modelId="{A2D7C962-F783-4063-8CB4-3D203273C5AC}" type="pres">
      <dgm:prSet presAssocID="{E3C85198-4BE1-4890-8F26-15ECA4DF56A0}" presName="horz1" presStyleCnt="0"/>
      <dgm:spPr/>
    </dgm:pt>
    <dgm:pt modelId="{CE0EF17A-F81C-4718-952C-55F29202086C}" type="pres">
      <dgm:prSet presAssocID="{E3C85198-4BE1-4890-8F26-15ECA4DF56A0}" presName="tx1" presStyleLbl="revTx" presStyleIdx="2" presStyleCnt="5"/>
      <dgm:spPr/>
    </dgm:pt>
    <dgm:pt modelId="{CBCEA5F3-46D5-4AF4-8418-C2E6D6C74E0D}" type="pres">
      <dgm:prSet presAssocID="{E3C85198-4BE1-4890-8F26-15ECA4DF56A0}" presName="vert1" presStyleCnt="0"/>
      <dgm:spPr/>
    </dgm:pt>
    <dgm:pt modelId="{8E51C2EA-E396-403C-A2F5-52351112D161}" type="pres">
      <dgm:prSet presAssocID="{AC4E4C48-D21D-4A66-A59B-1BB9E65CE13E}" presName="thickLine" presStyleLbl="alignNode1" presStyleIdx="3" presStyleCnt="5"/>
      <dgm:spPr/>
    </dgm:pt>
    <dgm:pt modelId="{C50EC450-3A5E-4B2F-A39E-C63B9D3B37B1}" type="pres">
      <dgm:prSet presAssocID="{AC4E4C48-D21D-4A66-A59B-1BB9E65CE13E}" presName="horz1" presStyleCnt="0"/>
      <dgm:spPr/>
    </dgm:pt>
    <dgm:pt modelId="{2D3FAF74-0F89-4D66-B83E-2F210C60B2E7}" type="pres">
      <dgm:prSet presAssocID="{AC4E4C48-D21D-4A66-A59B-1BB9E65CE13E}" presName="tx1" presStyleLbl="revTx" presStyleIdx="3" presStyleCnt="5"/>
      <dgm:spPr/>
    </dgm:pt>
    <dgm:pt modelId="{ED42A727-F94E-4790-9D60-39D2D70AB1E9}" type="pres">
      <dgm:prSet presAssocID="{AC4E4C48-D21D-4A66-A59B-1BB9E65CE13E}" presName="vert1" presStyleCnt="0"/>
      <dgm:spPr/>
    </dgm:pt>
    <dgm:pt modelId="{11C3F827-7403-440B-A799-E2B1501665B1}" type="pres">
      <dgm:prSet presAssocID="{F8C3A0BC-5815-49D6-8632-5A134B5BA3C9}" presName="thickLine" presStyleLbl="alignNode1" presStyleIdx="4" presStyleCnt="5"/>
      <dgm:spPr/>
    </dgm:pt>
    <dgm:pt modelId="{6DB23502-22DB-484B-97ED-482D5D63119F}" type="pres">
      <dgm:prSet presAssocID="{F8C3A0BC-5815-49D6-8632-5A134B5BA3C9}" presName="horz1" presStyleCnt="0"/>
      <dgm:spPr/>
    </dgm:pt>
    <dgm:pt modelId="{AD0E8554-7FCB-4CC4-B5A9-4EE7968DA2AD}" type="pres">
      <dgm:prSet presAssocID="{F8C3A0BC-5815-49D6-8632-5A134B5BA3C9}" presName="tx1" presStyleLbl="revTx" presStyleIdx="4" presStyleCnt="5"/>
      <dgm:spPr/>
    </dgm:pt>
    <dgm:pt modelId="{D8C124D8-6FAB-4AE8-BCBC-D319A6A156CB}" type="pres">
      <dgm:prSet presAssocID="{F8C3A0BC-5815-49D6-8632-5A134B5BA3C9}" presName="vert1" presStyleCnt="0"/>
      <dgm:spPr/>
    </dgm:pt>
  </dgm:ptLst>
  <dgm:cxnLst>
    <dgm:cxn modelId="{067DE508-2DA3-417B-A966-9848DD6CDA67}" type="presOf" srcId="{2FF57C87-4ED8-4B89-B79B-370D346E515D}" destId="{BFD25140-9E73-4799-853E-921BE84646AB}" srcOrd="0" destOrd="0" presId="urn:microsoft.com/office/officeart/2008/layout/LinedList"/>
    <dgm:cxn modelId="{5D777327-6BE6-4AD7-9BE7-4C7D0ED3742C}" srcId="{0862361E-C091-4CCB-87BB-FBCC575A21CF}" destId="{AC4E4C48-D21D-4A66-A59B-1BB9E65CE13E}" srcOrd="3" destOrd="0" parTransId="{D5EEC2E3-08F1-4F62-8699-722FF65F5870}" sibTransId="{C504455B-C77C-42FA-BEBE-F1BF4EADA946}"/>
    <dgm:cxn modelId="{4A2A592A-B354-4E68-8490-19C78453C5B0}" srcId="{0862361E-C091-4CCB-87BB-FBCC575A21CF}" destId="{2FF57C87-4ED8-4B89-B79B-370D346E515D}" srcOrd="1" destOrd="0" parTransId="{843F8288-A08D-4F1E-B431-2D869E8C48C9}" sibTransId="{A5F97FDE-567C-4D1E-9A53-15B654118329}"/>
    <dgm:cxn modelId="{5CD8BB66-C490-4C94-87F2-9E8BB70851FC}" srcId="{0862361E-C091-4CCB-87BB-FBCC575A21CF}" destId="{E3C85198-4BE1-4890-8F26-15ECA4DF56A0}" srcOrd="2" destOrd="0" parTransId="{B74B72E9-3BB1-4A8F-A9FB-5827D75DCE92}" sibTransId="{9944C48D-4142-4285-B4EC-056A465C0383}"/>
    <dgm:cxn modelId="{AD013072-26CD-41C2-8B99-98DED2294E36}" type="presOf" srcId="{F8C3A0BC-5815-49D6-8632-5A134B5BA3C9}" destId="{AD0E8554-7FCB-4CC4-B5A9-4EE7968DA2AD}" srcOrd="0" destOrd="0" presId="urn:microsoft.com/office/officeart/2008/layout/LinedList"/>
    <dgm:cxn modelId="{9040EC76-38CB-4236-B42C-A2764143A19B}" type="presOf" srcId="{E3C85198-4BE1-4890-8F26-15ECA4DF56A0}" destId="{CE0EF17A-F81C-4718-952C-55F29202086C}" srcOrd="0" destOrd="0" presId="urn:microsoft.com/office/officeart/2008/layout/LinedList"/>
    <dgm:cxn modelId="{1012FDAC-EA81-48B6-BB8D-EE023B40E623}" type="presOf" srcId="{0862361E-C091-4CCB-87BB-FBCC575A21CF}" destId="{88129F55-C187-4E8F-B918-AECB2BEDE594}" srcOrd="0" destOrd="0" presId="urn:microsoft.com/office/officeart/2008/layout/LinedList"/>
    <dgm:cxn modelId="{8D2640B1-784A-4FF4-8A91-F5EA2D0E02F3}" srcId="{0862361E-C091-4CCB-87BB-FBCC575A21CF}" destId="{F8C3A0BC-5815-49D6-8632-5A134B5BA3C9}" srcOrd="4" destOrd="0" parTransId="{8DF262A6-A32F-4644-A794-3BB245B13F16}" sibTransId="{2A09DDD9-57EE-4C64-BB84-7CCFDF2024BB}"/>
    <dgm:cxn modelId="{14835CBE-E8EB-430A-9B91-0679EB83F125}" type="presOf" srcId="{AC4E4C48-D21D-4A66-A59B-1BB9E65CE13E}" destId="{2D3FAF74-0F89-4D66-B83E-2F210C60B2E7}" srcOrd="0" destOrd="0" presId="urn:microsoft.com/office/officeart/2008/layout/LinedList"/>
    <dgm:cxn modelId="{767ECACF-8FFD-4BA4-ACCC-71A8DF707EBE}" srcId="{0862361E-C091-4CCB-87BB-FBCC575A21CF}" destId="{9616D77E-2DBE-4BC8-9E6B-33CDB60A2D87}" srcOrd="0" destOrd="0" parTransId="{46481D13-19E7-41FF-BA9E-2C4281BC976D}" sibTransId="{966D9E42-A335-4362-B52C-C00659CBC031}"/>
    <dgm:cxn modelId="{117A7FD8-F6C3-4FA8-87E9-13CA6DE2D5D0}" type="presOf" srcId="{9616D77E-2DBE-4BC8-9E6B-33CDB60A2D87}" destId="{F7861CF6-E776-4A93-A8DA-0CC64DC6FB76}" srcOrd="0" destOrd="0" presId="urn:microsoft.com/office/officeart/2008/layout/LinedList"/>
    <dgm:cxn modelId="{9A251557-AA2C-4376-BD32-2B3F7C7A74A1}" type="presParOf" srcId="{88129F55-C187-4E8F-B918-AECB2BEDE594}" destId="{3CA614BB-8BAC-40A8-8728-4A4DAC2E7B9D}" srcOrd="0" destOrd="0" presId="urn:microsoft.com/office/officeart/2008/layout/LinedList"/>
    <dgm:cxn modelId="{17AF3BB3-B9BA-4B4A-B44B-9464B565B0D5}" type="presParOf" srcId="{88129F55-C187-4E8F-B918-AECB2BEDE594}" destId="{8E49B564-B949-43DA-9799-A343F882E96A}" srcOrd="1" destOrd="0" presId="urn:microsoft.com/office/officeart/2008/layout/LinedList"/>
    <dgm:cxn modelId="{A7542F9A-824C-49AE-8996-41FEBFD1B0E5}" type="presParOf" srcId="{8E49B564-B949-43DA-9799-A343F882E96A}" destId="{F7861CF6-E776-4A93-A8DA-0CC64DC6FB76}" srcOrd="0" destOrd="0" presId="urn:microsoft.com/office/officeart/2008/layout/LinedList"/>
    <dgm:cxn modelId="{BF81304C-1A60-4FCE-ADC1-22B7EB1B3621}" type="presParOf" srcId="{8E49B564-B949-43DA-9799-A343F882E96A}" destId="{B3598CD9-81B1-402C-A28B-429E1A362BED}" srcOrd="1" destOrd="0" presId="urn:microsoft.com/office/officeart/2008/layout/LinedList"/>
    <dgm:cxn modelId="{5A288250-9168-4A18-BAD4-21C88C403237}" type="presParOf" srcId="{88129F55-C187-4E8F-B918-AECB2BEDE594}" destId="{672DB8E0-6227-4E8B-A449-980DD9A26D68}" srcOrd="2" destOrd="0" presId="urn:microsoft.com/office/officeart/2008/layout/LinedList"/>
    <dgm:cxn modelId="{53BEC5EE-C3E2-40BD-BEEE-A74B80DA6334}" type="presParOf" srcId="{88129F55-C187-4E8F-B918-AECB2BEDE594}" destId="{E92BEC60-0EB7-4B5F-BDD3-B0FD78B357FB}" srcOrd="3" destOrd="0" presId="urn:microsoft.com/office/officeart/2008/layout/LinedList"/>
    <dgm:cxn modelId="{005CB557-9616-4BA8-B486-EC57A4F00A9C}" type="presParOf" srcId="{E92BEC60-0EB7-4B5F-BDD3-B0FD78B357FB}" destId="{BFD25140-9E73-4799-853E-921BE84646AB}" srcOrd="0" destOrd="0" presId="urn:microsoft.com/office/officeart/2008/layout/LinedList"/>
    <dgm:cxn modelId="{9F594212-AA56-4C38-AE39-0526AC1D4921}" type="presParOf" srcId="{E92BEC60-0EB7-4B5F-BDD3-B0FD78B357FB}" destId="{3EDF2C60-AA1D-41C2-8B08-E8B760F92912}" srcOrd="1" destOrd="0" presId="urn:microsoft.com/office/officeart/2008/layout/LinedList"/>
    <dgm:cxn modelId="{E2D1D868-8F8C-43EB-968C-A25325309F59}" type="presParOf" srcId="{88129F55-C187-4E8F-B918-AECB2BEDE594}" destId="{6FC59ED3-5377-4BF2-ABC7-1CC1B3300A2F}" srcOrd="4" destOrd="0" presId="urn:microsoft.com/office/officeart/2008/layout/LinedList"/>
    <dgm:cxn modelId="{8BDE6DFD-3ACC-4D4E-B239-B47A65C2495D}" type="presParOf" srcId="{88129F55-C187-4E8F-B918-AECB2BEDE594}" destId="{A2D7C962-F783-4063-8CB4-3D203273C5AC}" srcOrd="5" destOrd="0" presId="urn:microsoft.com/office/officeart/2008/layout/LinedList"/>
    <dgm:cxn modelId="{19E13594-DB74-4552-9221-C7575027815D}" type="presParOf" srcId="{A2D7C962-F783-4063-8CB4-3D203273C5AC}" destId="{CE0EF17A-F81C-4718-952C-55F29202086C}" srcOrd="0" destOrd="0" presId="urn:microsoft.com/office/officeart/2008/layout/LinedList"/>
    <dgm:cxn modelId="{7DBBEE5E-AD40-43D4-8C9E-2877B1DE6F9B}" type="presParOf" srcId="{A2D7C962-F783-4063-8CB4-3D203273C5AC}" destId="{CBCEA5F3-46D5-4AF4-8418-C2E6D6C74E0D}" srcOrd="1" destOrd="0" presId="urn:microsoft.com/office/officeart/2008/layout/LinedList"/>
    <dgm:cxn modelId="{E536F538-214E-4952-9FF4-F049241B15AF}" type="presParOf" srcId="{88129F55-C187-4E8F-B918-AECB2BEDE594}" destId="{8E51C2EA-E396-403C-A2F5-52351112D161}" srcOrd="6" destOrd="0" presId="urn:microsoft.com/office/officeart/2008/layout/LinedList"/>
    <dgm:cxn modelId="{3F52CE28-EF1F-48B7-9380-22D88661B1C7}" type="presParOf" srcId="{88129F55-C187-4E8F-B918-AECB2BEDE594}" destId="{C50EC450-3A5E-4B2F-A39E-C63B9D3B37B1}" srcOrd="7" destOrd="0" presId="urn:microsoft.com/office/officeart/2008/layout/LinedList"/>
    <dgm:cxn modelId="{9828313A-2224-4760-B9D3-A58D557F1785}" type="presParOf" srcId="{C50EC450-3A5E-4B2F-A39E-C63B9D3B37B1}" destId="{2D3FAF74-0F89-4D66-B83E-2F210C60B2E7}" srcOrd="0" destOrd="0" presId="urn:microsoft.com/office/officeart/2008/layout/LinedList"/>
    <dgm:cxn modelId="{F18764D1-DD87-4563-A3DC-B4763EB52602}" type="presParOf" srcId="{C50EC450-3A5E-4B2F-A39E-C63B9D3B37B1}" destId="{ED42A727-F94E-4790-9D60-39D2D70AB1E9}" srcOrd="1" destOrd="0" presId="urn:microsoft.com/office/officeart/2008/layout/LinedList"/>
    <dgm:cxn modelId="{E4E4261D-285E-4628-BB3F-3242C9DEA6FE}" type="presParOf" srcId="{88129F55-C187-4E8F-B918-AECB2BEDE594}" destId="{11C3F827-7403-440B-A799-E2B1501665B1}" srcOrd="8" destOrd="0" presId="urn:microsoft.com/office/officeart/2008/layout/LinedList"/>
    <dgm:cxn modelId="{E48A703B-CF2C-448F-B085-841802C2DF99}" type="presParOf" srcId="{88129F55-C187-4E8F-B918-AECB2BEDE594}" destId="{6DB23502-22DB-484B-97ED-482D5D63119F}" srcOrd="9" destOrd="0" presId="urn:microsoft.com/office/officeart/2008/layout/LinedList"/>
    <dgm:cxn modelId="{7B45D065-FD10-4844-A280-E0C240D877D3}" type="presParOf" srcId="{6DB23502-22DB-484B-97ED-482D5D63119F}" destId="{AD0E8554-7FCB-4CC4-B5A9-4EE7968DA2AD}" srcOrd="0" destOrd="0" presId="urn:microsoft.com/office/officeart/2008/layout/LinedList"/>
    <dgm:cxn modelId="{F940010F-9735-4C08-9717-DC0E009DC25E}" type="presParOf" srcId="{6DB23502-22DB-484B-97ED-482D5D63119F}" destId="{D8C124D8-6FAB-4AE8-BCBC-D319A6A156CB}"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7037549-DE93-465A-9EA3-1CB133410D20}" type="doc">
      <dgm:prSet loTypeId="urn:microsoft.com/office/officeart/2005/8/layout/venn1" loCatId="relationship" qsTypeId="urn:microsoft.com/office/officeart/2005/8/quickstyle/simple1" qsCatId="simple" csTypeId="urn:microsoft.com/office/officeart/2005/8/colors/accent1_2" csCatId="accent1" phldr="1"/>
      <dgm:spPr/>
    </dgm:pt>
    <dgm:pt modelId="{41F127E0-25D8-491C-9254-ECCB8A87FF73}">
      <dgm:prSet/>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b="0" i="0" u="none" strike="noStrike" cap="none" normalizeH="0" baseline="0" dirty="0">
              <a:ln>
                <a:noFill/>
              </a:ln>
              <a:solidFill>
                <a:schemeClr val="tx1"/>
              </a:solidFill>
              <a:effectLst/>
              <a:latin typeface="Tahoma" pitchFamily="34" charset="0"/>
              <a:cs typeface="Arial" charset="0"/>
            </a:rPr>
            <a:t>Event </a:t>
          </a:r>
          <a:r>
            <a:rPr kumimoji="0" lang="fr-FR" b="0" i="0" u="none" strike="noStrike" cap="none" normalizeH="0" baseline="0" dirty="0" err="1">
              <a:ln>
                <a:noFill/>
              </a:ln>
              <a:solidFill>
                <a:schemeClr val="tx1"/>
              </a:solidFill>
              <a:effectLst/>
              <a:latin typeface="Tahoma" pitchFamily="34" charset="0"/>
              <a:cs typeface="Arial" charset="0"/>
            </a:rPr>
            <a:t>Stakeholders</a:t>
          </a:r>
          <a:endParaRPr kumimoji="0" lang="fr-FR" b="0" i="0" u="none" strike="noStrike" cap="none" normalizeH="0" baseline="0" dirty="0">
            <a:ln>
              <a:noFill/>
            </a:ln>
            <a:solidFill>
              <a:schemeClr val="tx1"/>
            </a:solidFill>
            <a:effectLst/>
            <a:latin typeface="Tahoma" pitchFamily="34"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fr-FR" b="0" i="0" u="none" strike="noStrike" cap="none" normalizeH="0" baseline="0" dirty="0">
            <a:ln>
              <a:noFill/>
            </a:ln>
            <a:solidFill>
              <a:schemeClr val="tx1"/>
            </a:solidFill>
            <a:effectLst/>
            <a:latin typeface="Tahoma" pitchFamily="34"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fr-FR" b="0" i="0" u="none" strike="noStrike" cap="none" normalizeH="0" baseline="0" dirty="0">
              <a:ln>
                <a:noFill/>
              </a:ln>
              <a:solidFill>
                <a:schemeClr val="tx1"/>
              </a:solidFill>
              <a:effectLst/>
              <a:latin typeface="Tahoma" pitchFamily="34" charset="0"/>
              <a:cs typeface="Arial" charset="0"/>
            </a:rPr>
            <a:t>Communication </a:t>
          </a:r>
          <a:r>
            <a:rPr kumimoji="0" lang="fr-FR" b="0" i="0" u="none" strike="noStrike" cap="none" normalizeH="0" baseline="0" dirty="0" err="1">
              <a:ln>
                <a:noFill/>
              </a:ln>
              <a:solidFill>
                <a:schemeClr val="tx1"/>
              </a:solidFill>
              <a:effectLst/>
              <a:latin typeface="Tahoma" pitchFamily="34" charset="0"/>
              <a:cs typeface="Arial" charset="0"/>
            </a:rPr>
            <a:t>platform</a:t>
          </a:r>
          <a:endParaRPr kumimoji="0" lang="fr-FR" b="0" i="0" u="none" strike="noStrike" cap="none" normalizeH="0" baseline="0" dirty="0">
            <a:ln>
              <a:noFill/>
            </a:ln>
            <a:solidFill>
              <a:schemeClr val="tx1"/>
            </a:solidFill>
            <a:effectLst/>
            <a:latin typeface="Tahoma" pitchFamily="34" charset="0"/>
            <a:cs typeface="Arial" charset="0"/>
          </a:endParaRPr>
        </a:p>
      </dgm:t>
    </dgm:pt>
    <dgm:pt modelId="{FF313E7B-4413-4811-BF3B-972694F2C535}" type="parTrans" cxnId="{72A5B258-7BB5-44DF-9A4F-8EB9612BAE9A}">
      <dgm:prSet/>
      <dgm:spPr/>
      <dgm:t>
        <a:bodyPr/>
        <a:lstStyle/>
        <a:p>
          <a:endParaRPr lang="fr-FR"/>
        </a:p>
      </dgm:t>
    </dgm:pt>
    <dgm:pt modelId="{08A26741-C31E-4D2E-AC03-5F060A0D2282}" type="sibTrans" cxnId="{72A5B258-7BB5-44DF-9A4F-8EB9612BAE9A}">
      <dgm:prSet/>
      <dgm:spPr/>
      <dgm:t>
        <a:bodyPr/>
        <a:lstStyle/>
        <a:p>
          <a:endParaRPr lang="fr-FR"/>
        </a:p>
      </dgm:t>
    </dgm:pt>
    <dgm:pt modelId="{CE937CED-4619-41A4-BF25-0CE7149643FA}">
      <dgm:prSet/>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b="0" i="0" u="none" strike="noStrike" cap="none" normalizeH="0" baseline="0" dirty="0" err="1">
              <a:ln>
                <a:noFill/>
              </a:ln>
              <a:solidFill>
                <a:schemeClr val="tx1"/>
              </a:solidFill>
              <a:effectLst/>
              <a:latin typeface="Tahoma" pitchFamily="34" charset="0"/>
              <a:cs typeface="Arial" charset="0"/>
            </a:rPr>
            <a:t>Stakeholders</a:t>
          </a:r>
          <a:r>
            <a:rPr kumimoji="0" lang="fr-FR" b="0" i="0" u="none" strike="noStrike" cap="none" normalizeH="0" baseline="0" dirty="0">
              <a:ln>
                <a:noFill/>
              </a:ln>
              <a:solidFill>
                <a:schemeClr val="tx1"/>
              </a:solidFill>
              <a:effectLst/>
              <a:latin typeface="Tahoma" pitchFamily="34" charset="0"/>
              <a:cs typeface="Arial" charset="0"/>
            </a:rPr>
            <a:t> </a:t>
          </a:r>
          <a:r>
            <a:rPr kumimoji="0" lang="fr-FR" b="0" i="0" u="none" strike="noStrike" cap="none" normalizeH="0" baseline="0" dirty="0" err="1">
              <a:ln>
                <a:noFill/>
              </a:ln>
              <a:solidFill>
                <a:schemeClr val="tx1"/>
              </a:solidFill>
              <a:effectLst/>
              <a:latin typeface="Tahoma" pitchFamily="34" charset="0"/>
              <a:cs typeface="Arial" charset="0"/>
            </a:rPr>
            <a:t>with</a:t>
          </a:r>
          <a:r>
            <a:rPr kumimoji="0" lang="fr-FR" b="0" i="0" u="none" strike="noStrike" cap="none" normalizeH="0" baseline="0" dirty="0">
              <a:ln>
                <a:noFill/>
              </a:ln>
              <a:solidFill>
                <a:schemeClr val="tx1"/>
              </a:solidFill>
              <a:effectLst/>
              <a:latin typeface="Tahoma" pitchFamily="34" charset="0"/>
              <a:cs typeface="Arial" charset="0"/>
            </a:rPr>
            <a:t> </a:t>
          </a:r>
          <a:r>
            <a:rPr kumimoji="0" lang="fr-FR" b="0" i="0" u="none" strike="noStrike" cap="none" normalizeH="0" baseline="0" dirty="0" err="1">
              <a:ln>
                <a:noFill/>
              </a:ln>
              <a:solidFill>
                <a:schemeClr val="tx1"/>
              </a:solidFill>
              <a:effectLst/>
              <a:latin typeface="Tahoma" pitchFamily="34" charset="0"/>
              <a:cs typeface="Arial" charset="0"/>
            </a:rPr>
            <a:t>legitimacy</a:t>
          </a:r>
          <a:endParaRPr kumimoji="0" lang="fr-FR" b="0" i="0" u="none" strike="noStrike" cap="none" normalizeH="0" baseline="0" dirty="0">
            <a:ln>
              <a:noFill/>
            </a:ln>
            <a:solidFill>
              <a:schemeClr val="tx1"/>
            </a:solidFill>
            <a:effectLst/>
            <a:latin typeface="Tahoma" pitchFamily="34"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fr-FR" b="0" i="0" u="none" strike="noStrike" cap="none" normalizeH="0" baseline="0" dirty="0">
              <a:ln>
                <a:noFill/>
              </a:ln>
              <a:solidFill>
                <a:schemeClr val="tx1"/>
              </a:solidFill>
              <a:effectLst/>
              <a:latin typeface="Tahoma" pitchFamily="34" charset="0"/>
              <a:cs typeface="Arial" charset="0"/>
            </a:rPr>
            <a:t>OGN - Association</a:t>
          </a:r>
        </a:p>
      </dgm:t>
    </dgm:pt>
    <dgm:pt modelId="{E06E1591-9239-4DB2-B33E-1CAAC635A652}" type="parTrans" cxnId="{FDEAA7C2-A897-4751-9C2D-815DB76C2388}">
      <dgm:prSet/>
      <dgm:spPr/>
      <dgm:t>
        <a:bodyPr/>
        <a:lstStyle/>
        <a:p>
          <a:endParaRPr lang="fr-FR"/>
        </a:p>
      </dgm:t>
    </dgm:pt>
    <dgm:pt modelId="{90696946-8F4C-4C3B-8183-9B28442330BF}" type="sibTrans" cxnId="{FDEAA7C2-A897-4751-9C2D-815DB76C2388}">
      <dgm:prSet/>
      <dgm:spPr/>
      <dgm:t>
        <a:bodyPr/>
        <a:lstStyle/>
        <a:p>
          <a:endParaRPr lang="fr-FR"/>
        </a:p>
      </dgm:t>
    </dgm:pt>
    <dgm:pt modelId="{DC6B6EB5-B78A-4489-BD71-E850B00BAC05}">
      <dgm:prSet/>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b="0" i="0" u="none" strike="noStrike" cap="none" normalizeH="0" baseline="0" dirty="0">
              <a:ln>
                <a:noFill/>
              </a:ln>
              <a:solidFill>
                <a:schemeClr val="tx1"/>
              </a:solidFill>
              <a:effectLst/>
              <a:latin typeface="Tahoma" pitchFamily="34" charset="0"/>
              <a:cs typeface="Arial" charset="0"/>
            </a:rPr>
            <a:t>Financial</a:t>
          </a:r>
        </a:p>
        <a:p>
          <a:pPr marL="0" marR="0" lvl="0" indent="0" algn="ctr" defTabSz="914400" rtl="0" eaLnBrk="1" fontAlgn="base" latinLnBrk="0" hangingPunct="1">
            <a:lnSpc>
              <a:spcPct val="100000"/>
            </a:lnSpc>
            <a:spcBef>
              <a:spcPct val="0"/>
            </a:spcBef>
            <a:spcAft>
              <a:spcPct val="0"/>
            </a:spcAft>
            <a:buClrTx/>
            <a:buSzTx/>
            <a:buFontTx/>
            <a:buNone/>
            <a:tabLst/>
          </a:pPr>
          <a:r>
            <a:rPr kumimoji="0" lang="fr-FR" b="0" i="0" u="none" strike="noStrike" cap="none" normalizeH="0" baseline="0" dirty="0" err="1">
              <a:ln>
                <a:noFill/>
              </a:ln>
              <a:solidFill>
                <a:schemeClr val="tx1"/>
              </a:solidFill>
              <a:effectLst/>
              <a:latin typeface="Tahoma" pitchFamily="34" charset="0"/>
              <a:cs typeface="Arial" charset="0"/>
            </a:rPr>
            <a:t>Stakeholders</a:t>
          </a:r>
          <a:r>
            <a:rPr kumimoji="0" lang="fr-FR" b="0" i="0" u="none" strike="noStrike" cap="none" normalizeH="0" baseline="0" dirty="0">
              <a:ln>
                <a:noFill/>
              </a:ln>
              <a:solidFill>
                <a:schemeClr val="tx1"/>
              </a:solidFill>
              <a:effectLst/>
              <a:latin typeface="Tahoma" pitchFamily="34" charset="0"/>
              <a:cs typeface="Arial" charset="0"/>
            </a:rPr>
            <a:t> </a:t>
          </a:r>
          <a:r>
            <a:rPr kumimoji="0" lang="fr-FR" b="0" i="0" u="none" strike="noStrike" cap="none" normalizeH="0" baseline="0" dirty="0" err="1">
              <a:ln>
                <a:noFill/>
              </a:ln>
              <a:solidFill>
                <a:schemeClr val="tx1"/>
              </a:solidFill>
              <a:effectLst/>
              <a:latin typeface="Tahoma" pitchFamily="34" charset="0"/>
              <a:cs typeface="Arial" charset="0"/>
            </a:rPr>
            <a:t>Private</a:t>
          </a:r>
          <a:r>
            <a:rPr kumimoji="0" lang="fr-FR" b="0" i="0" u="none" strike="noStrike" cap="none" normalizeH="0" baseline="0" dirty="0">
              <a:ln>
                <a:noFill/>
              </a:ln>
              <a:solidFill>
                <a:schemeClr val="tx1"/>
              </a:solidFill>
              <a:effectLst/>
              <a:latin typeface="Tahoma" pitchFamily="34" charset="0"/>
              <a:cs typeface="Arial" charset="0"/>
            </a:rPr>
            <a:t> or </a:t>
          </a:r>
          <a:r>
            <a:rPr kumimoji="0" lang="fr-FR" b="0" i="0" u="none" strike="noStrike" cap="none" normalizeH="0" baseline="0" dirty="0" err="1">
              <a:ln>
                <a:noFill/>
              </a:ln>
              <a:solidFill>
                <a:schemeClr val="tx1"/>
              </a:solidFill>
              <a:effectLst/>
              <a:latin typeface="Tahoma" pitchFamily="34" charset="0"/>
              <a:cs typeface="Arial" charset="0"/>
            </a:rPr>
            <a:t>plublic</a:t>
          </a:r>
          <a:r>
            <a:rPr kumimoji="0" lang="fr-FR" b="0" i="0" u="none" strike="noStrike" cap="none" normalizeH="0" baseline="0" dirty="0">
              <a:ln>
                <a:noFill/>
              </a:ln>
              <a:solidFill>
                <a:schemeClr val="tx1"/>
              </a:solidFill>
              <a:effectLst/>
              <a:latin typeface="Tahoma" pitchFamily="34" charset="0"/>
              <a:cs typeface="Arial" charset="0"/>
            </a:rPr>
            <a:t> </a:t>
          </a:r>
          <a:r>
            <a:rPr kumimoji="0" lang="fr-FR" b="0" i="0" u="none" strike="noStrike" cap="none" normalizeH="0" baseline="0" dirty="0" err="1">
              <a:ln>
                <a:noFill/>
              </a:ln>
              <a:solidFill>
                <a:schemeClr val="tx1"/>
              </a:solidFill>
              <a:effectLst/>
              <a:latin typeface="Tahoma" pitchFamily="34" charset="0"/>
              <a:cs typeface="Arial" charset="0"/>
            </a:rPr>
            <a:t>organizations</a:t>
          </a:r>
          <a:endParaRPr kumimoji="0" lang="fr-FR" b="0" i="0" u="none" strike="noStrike" cap="none" normalizeH="0" baseline="0" dirty="0">
            <a:ln>
              <a:noFill/>
            </a:ln>
            <a:solidFill>
              <a:schemeClr val="tx1"/>
            </a:solidFill>
            <a:effectLst/>
            <a:latin typeface="Tahoma" pitchFamily="34" charset="0"/>
            <a:cs typeface="Arial" charset="0"/>
          </a:endParaRPr>
        </a:p>
      </dgm:t>
    </dgm:pt>
    <dgm:pt modelId="{B0C21337-DAC6-49F4-BA0E-E24F77F4DF48}" type="parTrans" cxnId="{928BE69C-D146-42E3-8C99-53867B79AB12}">
      <dgm:prSet/>
      <dgm:spPr/>
      <dgm:t>
        <a:bodyPr/>
        <a:lstStyle/>
        <a:p>
          <a:endParaRPr lang="fr-FR"/>
        </a:p>
      </dgm:t>
    </dgm:pt>
    <dgm:pt modelId="{1EF490F1-BF42-4588-8957-52ACF4126FB3}" type="sibTrans" cxnId="{928BE69C-D146-42E3-8C99-53867B79AB12}">
      <dgm:prSet/>
      <dgm:spPr/>
      <dgm:t>
        <a:bodyPr/>
        <a:lstStyle/>
        <a:p>
          <a:endParaRPr lang="fr-FR"/>
        </a:p>
      </dgm:t>
    </dgm:pt>
    <dgm:pt modelId="{49B485FE-E0C7-4DE1-A653-21E19C96D3EB}" type="pres">
      <dgm:prSet presAssocID="{27037549-DE93-465A-9EA3-1CB133410D20}" presName="compositeShape" presStyleCnt="0">
        <dgm:presLayoutVars>
          <dgm:chMax val="7"/>
          <dgm:dir/>
          <dgm:resizeHandles val="exact"/>
        </dgm:presLayoutVars>
      </dgm:prSet>
      <dgm:spPr/>
    </dgm:pt>
    <dgm:pt modelId="{C3B58127-611B-4404-B6C2-C40DB0FE1F86}" type="pres">
      <dgm:prSet presAssocID="{41F127E0-25D8-491C-9254-ECCB8A87FF73}" presName="circ1" presStyleLbl="vennNode1" presStyleIdx="0" presStyleCnt="3"/>
      <dgm:spPr/>
    </dgm:pt>
    <dgm:pt modelId="{7AD3F8A9-57C9-4B5D-865E-2875DE943662}" type="pres">
      <dgm:prSet presAssocID="{41F127E0-25D8-491C-9254-ECCB8A87FF73}" presName="circ1Tx" presStyleLbl="revTx" presStyleIdx="0" presStyleCnt="0">
        <dgm:presLayoutVars>
          <dgm:chMax val="0"/>
          <dgm:chPref val="0"/>
          <dgm:bulletEnabled val="1"/>
        </dgm:presLayoutVars>
      </dgm:prSet>
      <dgm:spPr/>
    </dgm:pt>
    <dgm:pt modelId="{CA30DAC7-14F9-49B3-89DB-D9BC0D1279AB}" type="pres">
      <dgm:prSet presAssocID="{CE937CED-4619-41A4-BF25-0CE7149643FA}" presName="circ2" presStyleLbl="vennNode1" presStyleIdx="1" presStyleCnt="3"/>
      <dgm:spPr/>
    </dgm:pt>
    <dgm:pt modelId="{1153060E-2AA4-43E3-A9C0-15EBC6F0C15A}" type="pres">
      <dgm:prSet presAssocID="{CE937CED-4619-41A4-BF25-0CE7149643FA}" presName="circ2Tx" presStyleLbl="revTx" presStyleIdx="0" presStyleCnt="0">
        <dgm:presLayoutVars>
          <dgm:chMax val="0"/>
          <dgm:chPref val="0"/>
          <dgm:bulletEnabled val="1"/>
        </dgm:presLayoutVars>
      </dgm:prSet>
      <dgm:spPr/>
    </dgm:pt>
    <dgm:pt modelId="{7FB7D770-8EE5-4961-94CC-915B74F5F9CB}" type="pres">
      <dgm:prSet presAssocID="{DC6B6EB5-B78A-4489-BD71-E850B00BAC05}" presName="circ3" presStyleLbl="vennNode1" presStyleIdx="2" presStyleCnt="3"/>
      <dgm:spPr/>
    </dgm:pt>
    <dgm:pt modelId="{D96E390F-BE78-4687-BCC3-893B0BD6F7EF}" type="pres">
      <dgm:prSet presAssocID="{DC6B6EB5-B78A-4489-BD71-E850B00BAC05}" presName="circ3Tx" presStyleLbl="revTx" presStyleIdx="0" presStyleCnt="0">
        <dgm:presLayoutVars>
          <dgm:chMax val="0"/>
          <dgm:chPref val="0"/>
          <dgm:bulletEnabled val="1"/>
        </dgm:presLayoutVars>
      </dgm:prSet>
      <dgm:spPr/>
    </dgm:pt>
  </dgm:ptLst>
  <dgm:cxnLst>
    <dgm:cxn modelId="{ED04B421-D573-4F1E-BDC8-70CE88DF5F44}" type="presOf" srcId="{CE937CED-4619-41A4-BF25-0CE7149643FA}" destId="{CA30DAC7-14F9-49B3-89DB-D9BC0D1279AB}" srcOrd="0" destOrd="0" presId="urn:microsoft.com/office/officeart/2005/8/layout/venn1"/>
    <dgm:cxn modelId="{07967826-F21D-4189-8E08-FE4787435725}" type="presOf" srcId="{DC6B6EB5-B78A-4489-BD71-E850B00BAC05}" destId="{7FB7D770-8EE5-4961-94CC-915B74F5F9CB}" srcOrd="0" destOrd="0" presId="urn:microsoft.com/office/officeart/2005/8/layout/venn1"/>
    <dgm:cxn modelId="{E63E115B-619C-47A3-A67C-6BC78BE1F499}" type="presOf" srcId="{41F127E0-25D8-491C-9254-ECCB8A87FF73}" destId="{7AD3F8A9-57C9-4B5D-865E-2875DE943662}" srcOrd="1" destOrd="0" presId="urn:microsoft.com/office/officeart/2005/8/layout/venn1"/>
    <dgm:cxn modelId="{72A5B258-7BB5-44DF-9A4F-8EB9612BAE9A}" srcId="{27037549-DE93-465A-9EA3-1CB133410D20}" destId="{41F127E0-25D8-491C-9254-ECCB8A87FF73}" srcOrd="0" destOrd="0" parTransId="{FF313E7B-4413-4811-BF3B-972694F2C535}" sibTransId="{08A26741-C31E-4D2E-AC03-5F060A0D2282}"/>
    <dgm:cxn modelId="{53521185-D50B-4E19-AB09-951805CED25B}" type="presOf" srcId="{DC6B6EB5-B78A-4489-BD71-E850B00BAC05}" destId="{D96E390F-BE78-4687-BCC3-893B0BD6F7EF}" srcOrd="1" destOrd="0" presId="urn:microsoft.com/office/officeart/2005/8/layout/venn1"/>
    <dgm:cxn modelId="{928BE69C-D146-42E3-8C99-53867B79AB12}" srcId="{27037549-DE93-465A-9EA3-1CB133410D20}" destId="{DC6B6EB5-B78A-4489-BD71-E850B00BAC05}" srcOrd="2" destOrd="0" parTransId="{B0C21337-DAC6-49F4-BA0E-E24F77F4DF48}" sibTransId="{1EF490F1-BF42-4588-8957-52ACF4126FB3}"/>
    <dgm:cxn modelId="{FDEAA7C2-A897-4751-9C2D-815DB76C2388}" srcId="{27037549-DE93-465A-9EA3-1CB133410D20}" destId="{CE937CED-4619-41A4-BF25-0CE7149643FA}" srcOrd="1" destOrd="0" parTransId="{E06E1591-9239-4DB2-B33E-1CAAC635A652}" sibTransId="{90696946-8F4C-4C3B-8183-9B28442330BF}"/>
    <dgm:cxn modelId="{76185ACC-CC53-489A-A655-490F9E023D36}" type="presOf" srcId="{CE937CED-4619-41A4-BF25-0CE7149643FA}" destId="{1153060E-2AA4-43E3-A9C0-15EBC6F0C15A}" srcOrd="1" destOrd="0" presId="urn:microsoft.com/office/officeart/2005/8/layout/venn1"/>
    <dgm:cxn modelId="{4A7AB8D3-86CB-4565-B7B8-9C57B5E87627}" type="presOf" srcId="{41F127E0-25D8-491C-9254-ECCB8A87FF73}" destId="{C3B58127-611B-4404-B6C2-C40DB0FE1F86}" srcOrd="0" destOrd="0" presId="urn:microsoft.com/office/officeart/2005/8/layout/venn1"/>
    <dgm:cxn modelId="{D6B15FFB-FC4F-4258-B6D1-BE1B9A80160C}" type="presOf" srcId="{27037549-DE93-465A-9EA3-1CB133410D20}" destId="{49B485FE-E0C7-4DE1-A653-21E19C96D3EB}" srcOrd="0" destOrd="0" presId="urn:microsoft.com/office/officeart/2005/8/layout/venn1"/>
    <dgm:cxn modelId="{10D277DA-80F0-42BF-A2FA-3FB39E81532A}" type="presParOf" srcId="{49B485FE-E0C7-4DE1-A653-21E19C96D3EB}" destId="{C3B58127-611B-4404-B6C2-C40DB0FE1F86}" srcOrd="0" destOrd="0" presId="urn:microsoft.com/office/officeart/2005/8/layout/venn1"/>
    <dgm:cxn modelId="{FF74C73C-C6F9-4BB4-A1FF-45C2569B478F}" type="presParOf" srcId="{49B485FE-E0C7-4DE1-A653-21E19C96D3EB}" destId="{7AD3F8A9-57C9-4B5D-865E-2875DE943662}" srcOrd="1" destOrd="0" presId="urn:microsoft.com/office/officeart/2005/8/layout/venn1"/>
    <dgm:cxn modelId="{1FAFB717-3C4B-4650-86A6-0A59D8F0DD76}" type="presParOf" srcId="{49B485FE-E0C7-4DE1-A653-21E19C96D3EB}" destId="{CA30DAC7-14F9-49B3-89DB-D9BC0D1279AB}" srcOrd="2" destOrd="0" presId="urn:microsoft.com/office/officeart/2005/8/layout/venn1"/>
    <dgm:cxn modelId="{8D37BE1B-3614-42A4-BA2B-11B287F6DFA1}" type="presParOf" srcId="{49B485FE-E0C7-4DE1-A653-21E19C96D3EB}" destId="{1153060E-2AA4-43E3-A9C0-15EBC6F0C15A}" srcOrd="3" destOrd="0" presId="urn:microsoft.com/office/officeart/2005/8/layout/venn1"/>
    <dgm:cxn modelId="{5E774C24-EBA7-40CB-8CBA-BF213A8FDCF9}" type="presParOf" srcId="{49B485FE-E0C7-4DE1-A653-21E19C96D3EB}" destId="{7FB7D770-8EE5-4961-94CC-915B74F5F9CB}" srcOrd="4" destOrd="0" presId="urn:microsoft.com/office/officeart/2005/8/layout/venn1"/>
    <dgm:cxn modelId="{2034C54C-A0FE-48FD-AEA9-303C492709FB}" type="presParOf" srcId="{49B485FE-E0C7-4DE1-A653-21E19C96D3EB}" destId="{D96E390F-BE78-4687-BCC3-893B0BD6F7EF}" srcOrd="5"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BA5AFDB-4583-490E-BE5E-082E8B2CDFBA}" type="doc">
      <dgm:prSet loTypeId="urn:microsoft.com/office/officeart/2005/8/layout/process4" loCatId="process" qsTypeId="urn:microsoft.com/office/officeart/2005/8/quickstyle/simple2" qsCatId="simple" csTypeId="urn:microsoft.com/office/officeart/2005/8/colors/accent5_2" csCatId="accent5"/>
      <dgm:spPr/>
      <dgm:t>
        <a:bodyPr/>
        <a:lstStyle/>
        <a:p>
          <a:endParaRPr lang="en-US"/>
        </a:p>
      </dgm:t>
    </dgm:pt>
    <dgm:pt modelId="{B5B48F25-E63E-4898-9AEE-3283D59E2A57}">
      <dgm:prSet/>
      <dgm:spPr/>
      <dgm:t>
        <a:bodyPr/>
        <a:lstStyle/>
        <a:p>
          <a:r>
            <a:rPr lang="fr-FR" dirty="0"/>
            <a:t>Cause identification : local aspects, fit </a:t>
          </a:r>
          <a:r>
            <a:rPr lang="fr-FR" dirty="0" err="1"/>
            <a:t>with</a:t>
          </a:r>
          <a:r>
            <a:rPr lang="fr-FR" dirty="0"/>
            <a:t> </a:t>
          </a:r>
          <a:r>
            <a:rPr lang="fr-FR" dirty="0" err="1"/>
            <a:t>your</a:t>
          </a:r>
          <a:r>
            <a:rPr lang="fr-FR" dirty="0"/>
            <a:t> main sponsors or </a:t>
          </a:r>
          <a:r>
            <a:rPr lang="fr-FR" dirty="0" err="1"/>
            <a:t>cities</a:t>
          </a:r>
          <a:r>
            <a:rPr lang="fr-FR" dirty="0"/>
            <a:t>…</a:t>
          </a:r>
          <a:endParaRPr lang="en-US" dirty="0"/>
        </a:p>
      </dgm:t>
    </dgm:pt>
    <dgm:pt modelId="{BA372766-FD72-4610-ACE7-E4DFBB8DAADC}" type="parTrans" cxnId="{E7D36849-B698-465E-A16E-8352D4CF9559}">
      <dgm:prSet/>
      <dgm:spPr/>
      <dgm:t>
        <a:bodyPr/>
        <a:lstStyle/>
        <a:p>
          <a:endParaRPr lang="en-US"/>
        </a:p>
      </dgm:t>
    </dgm:pt>
    <dgm:pt modelId="{045C4B96-9DCF-4582-97D5-E9D40FB4A20C}" type="sibTrans" cxnId="{E7D36849-B698-465E-A16E-8352D4CF9559}">
      <dgm:prSet/>
      <dgm:spPr/>
      <dgm:t>
        <a:bodyPr/>
        <a:lstStyle/>
        <a:p>
          <a:endParaRPr lang="en-US"/>
        </a:p>
      </dgm:t>
    </dgm:pt>
    <dgm:pt modelId="{E18690F9-BE49-4B14-BE0D-7B1A8E1ACFE1}">
      <dgm:prSet/>
      <dgm:spPr/>
      <dgm:t>
        <a:bodyPr/>
        <a:lstStyle/>
        <a:p>
          <a:r>
            <a:rPr lang="fr-FR"/>
            <a:t>Legitimacy with your OGN or association</a:t>
          </a:r>
          <a:endParaRPr lang="en-US"/>
        </a:p>
      </dgm:t>
    </dgm:pt>
    <dgm:pt modelId="{35ADD6F8-BA24-48F3-87F6-B47CF4544C56}" type="parTrans" cxnId="{9AECC829-471B-474D-9312-089865F9F064}">
      <dgm:prSet/>
      <dgm:spPr/>
      <dgm:t>
        <a:bodyPr/>
        <a:lstStyle/>
        <a:p>
          <a:endParaRPr lang="en-US"/>
        </a:p>
      </dgm:t>
    </dgm:pt>
    <dgm:pt modelId="{3BBD23F1-5616-4EE4-A442-8A543F5287B1}" type="sibTrans" cxnId="{9AECC829-471B-474D-9312-089865F9F064}">
      <dgm:prSet/>
      <dgm:spPr/>
      <dgm:t>
        <a:bodyPr/>
        <a:lstStyle/>
        <a:p>
          <a:endParaRPr lang="en-US"/>
        </a:p>
      </dgm:t>
    </dgm:pt>
    <dgm:pt modelId="{7B632AD7-9202-461B-93D1-CD1306FEAFF0}">
      <dgm:prSet/>
      <dgm:spPr/>
      <dgm:t>
        <a:bodyPr/>
        <a:lstStyle/>
        <a:p>
          <a:r>
            <a:rPr lang="fr-FR"/>
            <a:t>Activation program</a:t>
          </a:r>
          <a:endParaRPr lang="en-US"/>
        </a:p>
      </dgm:t>
    </dgm:pt>
    <dgm:pt modelId="{7DB5B18C-51C8-416D-B35C-05F761D90F57}" type="parTrans" cxnId="{9722691B-FB35-47AF-AEE4-6E33D7FD4350}">
      <dgm:prSet/>
      <dgm:spPr/>
      <dgm:t>
        <a:bodyPr/>
        <a:lstStyle/>
        <a:p>
          <a:endParaRPr lang="en-US"/>
        </a:p>
      </dgm:t>
    </dgm:pt>
    <dgm:pt modelId="{48AF0080-54E0-4440-B9D3-8302D358F7A8}" type="sibTrans" cxnId="{9722691B-FB35-47AF-AEE4-6E33D7FD4350}">
      <dgm:prSet/>
      <dgm:spPr/>
      <dgm:t>
        <a:bodyPr/>
        <a:lstStyle/>
        <a:p>
          <a:endParaRPr lang="en-US"/>
        </a:p>
      </dgm:t>
    </dgm:pt>
    <dgm:pt modelId="{F815CCE8-9EE7-4E9E-8B72-85729B30E25E}">
      <dgm:prSet/>
      <dgm:spPr/>
      <dgm:t>
        <a:bodyPr/>
        <a:lstStyle/>
        <a:p>
          <a:r>
            <a:rPr lang="fr-FR"/>
            <a:t>ROI or ROO for :</a:t>
          </a:r>
          <a:endParaRPr lang="en-US"/>
        </a:p>
      </dgm:t>
    </dgm:pt>
    <dgm:pt modelId="{265BAF32-F5A5-4A6B-A070-4E308E900269}" type="parTrans" cxnId="{AF8DA35F-7F3F-4B7E-BF86-452913A599A4}">
      <dgm:prSet/>
      <dgm:spPr/>
      <dgm:t>
        <a:bodyPr/>
        <a:lstStyle/>
        <a:p>
          <a:endParaRPr lang="en-US"/>
        </a:p>
      </dgm:t>
    </dgm:pt>
    <dgm:pt modelId="{5BFDBEDA-A5A5-4E6D-ADCD-B041F0978B25}" type="sibTrans" cxnId="{AF8DA35F-7F3F-4B7E-BF86-452913A599A4}">
      <dgm:prSet/>
      <dgm:spPr/>
      <dgm:t>
        <a:bodyPr/>
        <a:lstStyle/>
        <a:p>
          <a:endParaRPr lang="en-US"/>
        </a:p>
      </dgm:t>
    </dgm:pt>
    <dgm:pt modelId="{772146BE-042A-4F6F-ABDD-295FAE3BE7DA}">
      <dgm:prSet/>
      <dgm:spPr/>
      <dgm:t>
        <a:bodyPr/>
        <a:lstStyle/>
        <a:p>
          <a:r>
            <a:rPr lang="fr-FR"/>
            <a:t>Sponsors</a:t>
          </a:r>
          <a:endParaRPr lang="en-US"/>
        </a:p>
      </dgm:t>
    </dgm:pt>
    <dgm:pt modelId="{E9F2BD5C-C932-4801-94A5-28F64C22C360}" type="parTrans" cxnId="{21DD0FFC-42FF-417D-91BE-4A4227372EBC}">
      <dgm:prSet/>
      <dgm:spPr/>
      <dgm:t>
        <a:bodyPr/>
        <a:lstStyle/>
        <a:p>
          <a:endParaRPr lang="en-US"/>
        </a:p>
      </dgm:t>
    </dgm:pt>
    <dgm:pt modelId="{1C29454C-9170-453F-859F-9DE8F9164E46}" type="sibTrans" cxnId="{21DD0FFC-42FF-417D-91BE-4A4227372EBC}">
      <dgm:prSet/>
      <dgm:spPr/>
      <dgm:t>
        <a:bodyPr/>
        <a:lstStyle/>
        <a:p>
          <a:endParaRPr lang="en-US"/>
        </a:p>
      </dgm:t>
    </dgm:pt>
    <dgm:pt modelId="{F1ED2B18-37FF-44D1-B31A-F532E8F6B9C8}">
      <dgm:prSet/>
      <dgm:spPr/>
      <dgm:t>
        <a:bodyPr/>
        <a:lstStyle/>
        <a:p>
          <a:r>
            <a:rPr lang="fr-FR" dirty="0"/>
            <a:t>ONG</a:t>
          </a:r>
          <a:endParaRPr lang="en-US" dirty="0"/>
        </a:p>
      </dgm:t>
    </dgm:pt>
    <dgm:pt modelId="{5D3EF219-940F-4A4A-90C3-0C405BD630FD}" type="parTrans" cxnId="{45A32698-6982-435E-A4F3-55D88E777727}">
      <dgm:prSet/>
      <dgm:spPr/>
      <dgm:t>
        <a:bodyPr/>
        <a:lstStyle/>
        <a:p>
          <a:endParaRPr lang="en-US"/>
        </a:p>
      </dgm:t>
    </dgm:pt>
    <dgm:pt modelId="{D6133A38-8DD6-4268-88CC-4E000971D29D}" type="sibTrans" cxnId="{45A32698-6982-435E-A4F3-55D88E777727}">
      <dgm:prSet/>
      <dgm:spPr/>
      <dgm:t>
        <a:bodyPr/>
        <a:lstStyle/>
        <a:p>
          <a:endParaRPr lang="en-US"/>
        </a:p>
      </dgm:t>
    </dgm:pt>
    <dgm:pt modelId="{928D0BC6-2AD1-4718-B529-A06163A6CF5E}">
      <dgm:prSet/>
      <dgm:spPr/>
      <dgm:t>
        <a:bodyPr/>
        <a:lstStyle/>
        <a:p>
          <a:r>
            <a:rPr lang="fr-FR"/>
            <a:t>Event </a:t>
          </a:r>
          <a:endParaRPr lang="en-US"/>
        </a:p>
      </dgm:t>
    </dgm:pt>
    <dgm:pt modelId="{6FE6230A-3A78-4843-9443-D6B4883083C8}" type="parTrans" cxnId="{893369FE-DC92-4A2A-8CA7-ACCF162F8B50}">
      <dgm:prSet/>
      <dgm:spPr/>
      <dgm:t>
        <a:bodyPr/>
        <a:lstStyle/>
        <a:p>
          <a:endParaRPr lang="en-US"/>
        </a:p>
      </dgm:t>
    </dgm:pt>
    <dgm:pt modelId="{E94D953A-8BE4-4091-833F-DA7E3EE99D00}" type="sibTrans" cxnId="{893369FE-DC92-4A2A-8CA7-ACCF162F8B50}">
      <dgm:prSet/>
      <dgm:spPr/>
      <dgm:t>
        <a:bodyPr/>
        <a:lstStyle/>
        <a:p>
          <a:endParaRPr lang="en-US"/>
        </a:p>
      </dgm:t>
    </dgm:pt>
    <dgm:pt modelId="{544EC420-33A5-41D3-84AD-D7DF48F46F51}" type="pres">
      <dgm:prSet presAssocID="{5BA5AFDB-4583-490E-BE5E-082E8B2CDFBA}" presName="Name0" presStyleCnt="0">
        <dgm:presLayoutVars>
          <dgm:dir/>
          <dgm:animLvl val="lvl"/>
          <dgm:resizeHandles val="exact"/>
        </dgm:presLayoutVars>
      </dgm:prSet>
      <dgm:spPr/>
    </dgm:pt>
    <dgm:pt modelId="{4AC31046-0459-4137-8853-8A30BAA09009}" type="pres">
      <dgm:prSet presAssocID="{F815CCE8-9EE7-4E9E-8B72-85729B30E25E}" presName="boxAndChildren" presStyleCnt="0"/>
      <dgm:spPr/>
    </dgm:pt>
    <dgm:pt modelId="{5420A3F7-3224-4CA7-A9AD-0E77EC366A68}" type="pres">
      <dgm:prSet presAssocID="{F815CCE8-9EE7-4E9E-8B72-85729B30E25E}" presName="parentTextBox" presStyleLbl="node1" presStyleIdx="0" presStyleCnt="4"/>
      <dgm:spPr/>
    </dgm:pt>
    <dgm:pt modelId="{A1998B89-E503-4EE5-A47E-F5D1A6D5E742}" type="pres">
      <dgm:prSet presAssocID="{F815CCE8-9EE7-4E9E-8B72-85729B30E25E}" presName="entireBox" presStyleLbl="node1" presStyleIdx="0" presStyleCnt="4"/>
      <dgm:spPr/>
    </dgm:pt>
    <dgm:pt modelId="{7BC84921-D983-4F10-AD13-7F7815F6F247}" type="pres">
      <dgm:prSet presAssocID="{F815CCE8-9EE7-4E9E-8B72-85729B30E25E}" presName="descendantBox" presStyleCnt="0"/>
      <dgm:spPr/>
    </dgm:pt>
    <dgm:pt modelId="{EB85C792-B6D5-4E29-BDD1-677CF71F8E79}" type="pres">
      <dgm:prSet presAssocID="{772146BE-042A-4F6F-ABDD-295FAE3BE7DA}" presName="childTextBox" presStyleLbl="fgAccFollowNode1" presStyleIdx="0" presStyleCnt="3">
        <dgm:presLayoutVars>
          <dgm:bulletEnabled val="1"/>
        </dgm:presLayoutVars>
      </dgm:prSet>
      <dgm:spPr/>
    </dgm:pt>
    <dgm:pt modelId="{701CD357-8770-4FEC-A028-CF9B17AEA672}" type="pres">
      <dgm:prSet presAssocID="{F1ED2B18-37FF-44D1-B31A-F532E8F6B9C8}" presName="childTextBox" presStyleLbl="fgAccFollowNode1" presStyleIdx="1" presStyleCnt="3">
        <dgm:presLayoutVars>
          <dgm:bulletEnabled val="1"/>
        </dgm:presLayoutVars>
      </dgm:prSet>
      <dgm:spPr/>
    </dgm:pt>
    <dgm:pt modelId="{A9E5E746-C11F-4C32-A866-0C787E912D7D}" type="pres">
      <dgm:prSet presAssocID="{928D0BC6-2AD1-4718-B529-A06163A6CF5E}" presName="childTextBox" presStyleLbl="fgAccFollowNode1" presStyleIdx="2" presStyleCnt="3">
        <dgm:presLayoutVars>
          <dgm:bulletEnabled val="1"/>
        </dgm:presLayoutVars>
      </dgm:prSet>
      <dgm:spPr/>
    </dgm:pt>
    <dgm:pt modelId="{04EF2E6D-F0B1-4200-8161-56DB43EDE571}" type="pres">
      <dgm:prSet presAssocID="{48AF0080-54E0-4440-B9D3-8302D358F7A8}" presName="sp" presStyleCnt="0"/>
      <dgm:spPr/>
    </dgm:pt>
    <dgm:pt modelId="{16BA133E-2393-4138-A928-EC189BB9F1B6}" type="pres">
      <dgm:prSet presAssocID="{7B632AD7-9202-461B-93D1-CD1306FEAFF0}" presName="arrowAndChildren" presStyleCnt="0"/>
      <dgm:spPr/>
    </dgm:pt>
    <dgm:pt modelId="{A672B001-DDED-4BDB-BC4E-75823D356D8A}" type="pres">
      <dgm:prSet presAssocID="{7B632AD7-9202-461B-93D1-CD1306FEAFF0}" presName="parentTextArrow" presStyleLbl="node1" presStyleIdx="1" presStyleCnt="4"/>
      <dgm:spPr/>
    </dgm:pt>
    <dgm:pt modelId="{10B178A2-B6AE-46B7-988F-410F68613E7D}" type="pres">
      <dgm:prSet presAssocID="{3BBD23F1-5616-4EE4-A442-8A543F5287B1}" presName="sp" presStyleCnt="0"/>
      <dgm:spPr/>
    </dgm:pt>
    <dgm:pt modelId="{D1AF1D17-1312-4097-ACF6-4D188968C6AA}" type="pres">
      <dgm:prSet presAssocID="{E18690F9-BE49-4B14-BE0D-7B1A8E1ACFE1}" presName="arrowAndChildren" presStyleCnt="0"/>
      <dgm:spPr/>
    </dgm:pt>
    <dgm:pt modelId="{BB4FD60F-E4F0-48CE-A014-6C6E980C0F87}" type="pres">
      <dgm:prSet presAssocID="{E18690F9-BE49-4B14-BE0D-7B1A8E1ACFE1}" presName="parentTextArrow" presStyleLbl="node1" presStyleIdx="2" presStyleCnt="4"/>
      <dgm:spPr/>
    </dgm:pt>
    <dgm:pt modelId="{9B3291C4-AE24-4651-9C1F-B66F5238C585}" type="pres">
      <dgm:prSet presAssocID="{045C4B96-9DCF-4582-97D5-E9D40FB4A20C}" presName="sp" presStyleCnt="0"/>
      <dgm:spPr/>
    </dgm:pt>
    <dgm:pt modelId="{E392B61F-CEA8-4A0C-8318-29B306F7C785}" type="pres">
      <dgm:prSet presAssocID="{B5B48F25-E63E-4898-9AEE-3283D59E2A57}" presName="arrowAndChildren" presStyleCnt="0"/>
      <dgm:spPr/>
    </dgm:pt>
    <dgm:pt modelId="{D615E28C-F603-470A-BD3D-3A1F17ACE3EC}" type="pres">
      <dgm:prSet presAssocID="{B5B48F25-E63E-4898-9AEE-3283D59E2A57}" presName="parentTextArrow" presStyleLbl="node1" presStyleIdx="3" presStyleCnt="4"/>
      <dgm:spPr/>
    </dgm:pt>
  </dgm:ptLst>
  <dgm:cxnLst>
    <dgm:cxn modelId="{7CCFF301-2464-43E9-AA1D-88CC233D5399}" type="presOf" srcId="{7B632AD7-9202-461B-93D1-CD1306FEAFF0}" destId="{A672B001-DDED-4BDB-BC4E-75823D356D8A}" srcOrd="0" destOrd="0" presId="urn:microsoft.com/office/officeart/2005/8/layout/process4"/>
    <dgm:cxn modelId="{9722691B-FB35-47AF-AEE4-6E33D7FD4350}" srcId="{5BA5AFDB-4583-490E-BE5E-082E8B2CDFBA}" destId="{7B632AD7-9202-461B-93D1-CD1306FEAFF0}" srcOrd="2" destOrd="0" parTransId="{7DB5B18C-51C8-416D-B35C-05F761D90F57}" sibTransId="{48AF0080-54E0-4440-B9D3-8302D358F7A8}"/>
    <dgm:cxn modelId="{924CB825-CEF5-4870-9E89-BA61DFB0CF4F}" type="presOf" srcId="{F815CCE8-9EE7-4E9E-8B72-85729B30E25E}" destId="{5420A3F7-3224-4CA7-A9AD-0E77EC366A68}" srcOrd="0" destOrd="0" presId="urn:microsoft.com/office/officeart/2005/8/layout/process4"/>
    <dgm:cxn modelId="{9AECC829-471B-474D-9312-089865F9F064}" srcId="{5BA5AFDB-4583-490E-BE5E-082E8B2CDFBA}" destId="{E18690F9-BE49-4B14-BE0D-7B1A8E1ACFE1}" srcOrd="1" destOrd="0" parTransId="{35ADD6F8-BA24-48F3-87F6-B47CF4544C56}" sibTransId="{3BBD23F1-5616-4EE4-A442-8A543F5287B1}"/>
    <dgm:cxn modelId="{DD906C3D-8012-48DE-AAD1-01EF986D536A}" type="presOf" srcId="{E18690F9-BE49-4B14-BE0D-7B1A8E1ACFE1}" destId="{BB4FD60F-E4F0-48CE-A014-6C6E980C0F87}" srcOrd="0" destOrd="0" presId="urn:microsoft.com/office/officeart/2005/8/layout/process4"/>
    <dgm:cxn modelId="{AF8DA35F-7F3F-4B7E-BF86-452913A599A4}" srcId="{5BA5AFDB-4583-490E-BE5E-082E8B2CDFBA}" destId="{F815CCE8-9EE7-4E9E-8B72-85729B30E25E}" srcOrd="3" destOrd="0" parTransId="{265BAF32-F5A5-4A6B-A070-4E308E900269}" sibTransId="{5BFDBEDA-A5A5-4E6D-ADCD-B041F0978B25}"/>
    <dgm:cxn modelId="{7B76CF68-BCBB-47DD-8D5C-133A55ED59D4}" type="presOf" srcId="{F815CCE8-9EE7-4E9E-8B72-85729B30E25E}" destId="{A1998B89-E503-4EE5-A47E-F5D1A6D5E742}" srcOrd="1" destOrd="0" presId="urn:microsoft.com/office/officeart/2005/8/layout/process4"/>
    <dgm:cxn modelId="{E7D36849-B698-465E-A16E-8352D4CF9559}" srcId="{5BA5AFDB-4583-490E-BE5E-082E8B2CDFBA}" destId="{B5B48F25-E63E-4898-9AEE-3283D59E2A57}" srcOrd="0" destOrd="0" parTransId="{BA372766-FD72-4610-ACE7-E4DFBB8DAADC}" sibTransId="{045C4B96-9DCF-4582-97D5-E9D40FB4A20C}"/>
    <dgm:cxn modelId="{AFC95072-8B54-42DF-BD9D-DA768E7AE9A2}" type="presOf" srcId="{F1ED2B18-37FF-44D1-B31A-F532E8F6B9C8}" destId="{701CD357-8770-4FEC-A028-CF9B17AEA672}" srcOrd="0" destOrd="0" presId="urn:microsoft.com/office/officeart/2005/8/layout/process4"/>
    <dgm:cxn modelId="{45A32698-6982-435E-A4F3-55D88E777727}" srcId="{F815CCE8-9EE7-4E9E-8B72-85729B30E25E}" destId="{F1ED2B18-37FF-44D1-B31A-F532E8F6B9C8}" srcOrd="1" destOrd="0" parTransId="{5D3EF219-940F-4A4A-90C3-0C405BD630FD}" sibTransId="{D6133A38-8DD6-4268-88CC-4E000971D29D}"/>
    <dgm:cxn modelId="{E11E7DA6-59D8-459D-9C23-395BFA9F9E4A}" type="presOf" srcId="{B5B48F25-E63E-4898-9AEE-3283D59E2A57}" destId="{D615E28C-F603-470A-BD3D-3A1F17ACE3EC}" srcOrd="0" destOrd="0" presId="urn:microsoft.com/office/officeart/2005/8/layout/process4"/>
    <dgm:cxn modelId="{33BCDED5-F11D-4E25-B9E1-8E0E32395723}" type="presOf" srcId="{5BA5AFDB-4583-490E-BE5E-082E8B2CDFBA}" destId="{544EC420-33A5-41D3-84AD-D7DF48F46F51}" srcOrd="0" destOrd="0" presId="urn:microsoft.com/office/officeart/2005/8/layout/process4"/>
    <dgm:cxn modelId="{095027FB-D7A3-4826-AE9B-1DF5CC6B50D3}" type="presOf" srcId="{772146BE-042A-4F6F-ABDD-295FAE3BE7DA}" destId="{EB85C792-B6D5-4E29-BDD1-677CF71F8E79}" srcOrd="0" destOrd="0" presId="urn:microsoft.com/office/officeart/2005/8/layout/process4"/>
    <dgm:cxn modelId="{AD94AEFB-31F3-46A1-9C36-A2DEC642DF35}" type="presOf" srcId="{928D0BC6-2AD1-4718-B529-A06163A6CF5E}" destId="{A9E5E746-C11F-4C32-A866-0C787E912D7D}" srcOrd="0" destOrd="0" presId="urn:microsoft.com/office/officeart/2005/8/layout/process4"/>
    <dgm:cxn modelId="{21DD0FFC-42FF-417D-91BE-4A4227372EBC}" srcId="{F815CCE8-9EE7-4E9E-8B72-85729B30E25E}" destId="{772146BE-042A-4F6F-ABDD-295FAE3BE7DA}" srcOrd="0" destOrd="0" parTransId="{E9F2BD5C-C932-4801-94A5-28F64C22C360}" sibTransId="{1C29454C-9170-453F-859F-9DE8F9164E46}"/>
    <dgm:cxn modelId="{893369FE-DC92-4A2A-8CA7-ACCF162F8B50}" srcId="{F815CCE8-9EE7-4E9E-8B72-85729B30E25E}" destId="{928D0BC6-2AD1-4718-B529-A06163A6CF5E}" srcOrd="2" destOrd="0" parTransId="{6FE6230A-3A78-4843-9443-D6B4883083C8}" sibTransId="{E94D953A-8BE4-4091-833F-DA7E3EE99D00}"/>
    <dgm:cxn modelId="{FB8FDCC6-05CC-47FE-90BA-590F9EA77A14}" type="presParOf" srcId="{544EC420-33A5-41D3-84AD-D7DF48F46F51}" destId="{4AC31046-0459-4137-8853-8A30BAA09009}" srcOrd="0" destOrd="0" presId="urn:microsoft.com/office/officeart/2005/8/layout/process4"/>
    <dgm:cxn modelId="{6E0ADEF4-AFD5-466A-B055-A0374B377E12}" type="presParOf" srcId="{4AC31046-0459-4137-8853-8A30BAA09009}" destId="{5420A3F7-3224-4CA7-A9AD-0E77EC366A68}" srcOrd="0" destOrd="0" presId="urn:microsoft.com/office/officeart/2005/8/layout/process4"/>
    <dgm:cxn modelId="{0E770CF2-504F-41F0-BE97-D763AD4125BB}" type="presParOf" srcId="{4AC31046-0459-4137-8853-8A30BAA09009}" destId="{A1998B89-E503-4EE5-A47E-F5D1A6D5E742}" srcOrd="1" destOrd="0" presId="urn:microsoft.com/office/officeart/2005/8/layout/process4"/>
    <dgm:cxn modelId="{D6F5FF17-D81B-4E06-AAFE-81ACE0672136}" type="presParOf" srcId="{4AC31046-0459-4137-8853-8A30BAA09009}" destId="{7BC84921-D983-4F10-AD13-7F7815F6F247}" srcOrd="2" destOrd="0" presId="urn:microsoft.com/office/officeart/2005/8/layout/process4"/>
    <dgm:cxn modelId="{CFA4F2CD-5ADA-4848-B554-75D5137594E9}" type="presParOf" srcId="{7BC84921-D983-4F10-AD13-7F7815F6F247}" destId="{EB85C792-B6D5-4E29-BDD1-677CF71F8E79}" srcOrd="0" destOrd="0" presId="urn:microsoft.com/office/officeart/2005/8/layout/process4"/>
    <dgm:cxn modelId="{01E3A135-EB82-4E3C-B45B-838351959896}" type="presParOf" srcId="{7BC84921-D983-4F10-AD13-7F7815F6F247}" destId="{701CD357-8770-4FEC-A028-CF9B17AEA672}" srcOrd="1" destOrd="0" presId="urn:microsoft.com/office/officeart/2005/8/layout/process4"/>
    <dgm:cxn modelId="{356A296A-908B-4D37-B159-DA4D5A53FC39}" type="presParOf" srcId="{7BC84921-D983-4F10-AD13-7F7815F6F247}" destId="{A9E5E746-C11F-4C32-A866-0C787E912D7D}" srcOrd="2" destOrd="0" presId="urn:microsoft.com/office/officeart/2005/8/layout/process4"/>
    <dgm:cxn modelId="{2A85469E-5BE2-400B-B12A-79B348384D7D}" type="presParOf" srcId="{544EC420-33A5-41D3-84AD-D7DF48F46F51}" destId="{04EF2E6D-F0B1-4200-8161-56DB43EDE571}" srcOrd="1" destOrd="0" presId="urn:microsoft.com/office/officeart/2005/8/layout/process4"/>
    <dgm:cxn modelId="{388C1B63-A280-43B7-9897-CD14F922E378}" type="presParOf" srcId="{544EC420-33A5-41D3-84AD-D7DF48F46F51}" destId="{16BA133E-2393-4138-A928-EC189BB9F1B6}" srcOrd="2" destOrd="0" presId="urn:microsoft.com/office/officeart/2005/8/layout/process4"/>
    <dgm:cxn modelId="{A9D43373-80E7-4487-B95B-2F51AFFDDE48}" type="presParOf" srcId="{16BA133E-2393-4138-A928-EC189BB9F1B6}" destId="{A672B001-DDED-4BDB-BC4E-75823D356D8A}" srcOrd="0" destOrd="0" presId="urn:microsoft.com/office/officeart/2005/8/layout/process4"/>
    <dgm:cxn modelId="{5C5E964A-2963-459B-9F03-B02ADCE31336}" type="presParOf" srcId="{544EC420-33A5-41D3-84AD-D7DF48F46F51}" destId="{10B178A2-B6AE-46B7-988F-410F68613E7D}" srcOrd="3" destOrd="0" presId="urn:microsoft.com/office/officeart/2005/8/layout/process4"/>
    <dgm:cxn modelId="{1C34F4A4-9EFA-4F0F-9D55-3270EC441D6F}" type="presParOf" srcId="{544EC420-33A5-41D3-84AD-D7DF48F46F51}" destId="{D1AF1D17-1312-4097-ACF6-4D188968C6AA}" srcOrd="4" destOrd="0" presId="urn:microsoft.com/office/officeart/2005/8/layout/process4"/>
    <dgm:cxn modelId="{F9842D3D-AEC2-4737-959C-C76F8F688643}" type="presParOf" srcId="{D1AF1D17-1312-4097-ACF6-4D188968C6AA}" destId="{BB4FD60F-E4F0-48CE-A014-6C6E980C0F87}" srcOrd="0" destOrd="0" presId="urn:microsoft.com/office/officeart/2005/8/layout/process4"/>
    <dgm:cxn modelId="{46D57A7C-93D8-4070-8E2C-F60A6C351ACB}" type="presParOf" srcId="{544EC420-33A5-41D3-84AD-D7DF48F46F51}" destId="{9B3291C4-AE24-4651-9C1F-B66F5238C585}" srcOrd="5" destOrd="0" presId="urn:microsoft.com/office/officeart/2005/8/layout/process4"/>
    <dgm:cxn modelId="{C3C12D32-348F-4440-BE15-8AF41065201F}" type="presParOf" srcId="{544EC420-33A5-41D3-84AD-D7DF48F46F51}" destId="{E392B61F-CEA8-4A0C-8318-29B306F7C785}" srcOrd="6" destOrd="0" presId="urn:microsoft.com/office/officeart/2005/8/layout/process4"/>
    <dgm:cxn modelId="{D3EE86AB-C002-4AFA-93D6-D77BDB283091}" type="presParOf" srcId="{E392B61F-CEA8-4A0C-8318-29B306F7C785}" destId="{D615E28C-F603-470A-BD3D-3A1F17ACE3EC}"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6533EF9-9E0B-45D0-9BAA-4329A5F67A33}"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13D0E2D8-38E8-49BA-B63F-9F0B8A23A72D}">
      <dgm:prSet/>
      <dgm:spPr/>
      <dgm:t>
        <a:bodyPr/>
        <a:lstStyle/>
        <a:p>
          <a:pPr>
            <a:lnSpc>
              <a:spcPct val="100000"/>
            </a:lnSpc>
          </a:pPr>
          <a:r>
            <a:rPr lang="fr-FR" b="1"/>
            <a:t>Corporate Social Responsability and Cause marketing</a:t>
          </a:r>
          <a:endParaRPr lang="en-US"/>
        </a:p>
      </dgm:t>
    </dgm:pt>
    <dgm:pt modelId="{9D62546F-F182-4332-89A6-1BAE913AB08D}" type="parTrans" cxnId="{7A88B7E6-466C-4E07-A040-3FF5C2799B7E}">
      <dgm:prSet/>
      <dgm:spPr/>
      <dgm:t>
        <a:bodyPr/>
        <a:lstStyle/>
        <a:p>
          <a:endParaRPr lang="en-US"/>
        </a:p>
      </dgm:t>
    </dgm:pt>
    <dgm:pt modelId="{B38E0700-DF8C-402E-A952-7EE98155EB03}" type="sibTrans" cxnId="{7A88B7E6-466C-4E07-A040-3FF5C2799B7E}">
      <dgm:prSet/>
      <dgm:spPr/>
      <dgm:t>
        <a:bodyPr/>
        <a:lstStyle/>
        <a:p>
          <a:endParaRPr lang="en-US"/>
        </a:p>
      </dgm:t>
    </dgm:pt>
    <dgm:pt modelId="{31ADCCE3-F55F-4156-8D96-3B94F5A0D114}">
      <dgm:prSet/>
      <dgm:spPr/>
      <dgm:t>
        <a:bodyPr/>
        <a:lstStyle/>
        <a:p>
          <a:pPr>
            <a:lnSpc>
              <a:spcPct val="100000"/>
            </a:lnSpc>
          </a:pPr>
          <a:r>
            <a:rPr lang="fr-FR" b="1"/>
            <a:t>Cross businesses (not easy…) using public – private networks… </a:t>
          </a:r>
          <a:endParaRPr lang="en-US"/>
        </a:p>
      </dgm:t>
    </dgm:pt>
    <dgm:pt modelId="{6C1F2DBD-350D-493E-A6B2-0644EA48DA68}" type="parTrans" cxnId="{1ADC5D8E-DA25-4BA5-BAA5-71737CCA07C4}">
      <dgm:prSet/>
      <dgm:spPr/>
      <dgm:t>
        <a:bodyPr/>
        <a:lstStyle/>
        <a:p>
          <a:endParaRPr lang="en-US"/>
        </a:p>
      </dgm:t>
    </dgm:pt>
    <dgm:pt modelId="{525A312E-644B-415A-AC50-A1383D1A53F8}" type="sibTrans" cxnId="{1ADC5D8E-DA25-4BA5-BAA5-71737CCA07C4}">
      <dgm:prSet/>
      <dgm:spPr/>
      <dgm:t>
        <a:bodyPr/>
        <a:lstStyle/>
        <a:p>
          <a:endParaRPr lang="en-US"/>
        </a:p>
      </dgm:t>
    </dgm:pt>
    <dgm:pt modelId="{F058ECDA-95BC-4CD8-B704-BD5952D293B1}">
      <dgm:prSet/>
      <dgm:spPr/>
      <dgm:t>
        <a:bodyPr/>
        <a:lstStyle/>
        <a:p>
          <a:pPr>
            <a:lnSpc>
              <a:spcPct val="100000"/>
            </a:lnSpc>
          </a:pPr>
          <a:r>
            <a:rPr lang="fr-FR" b="1"/>
            <a:t>Danger : impossible to put the offer or attractiveness on your website or business presentations…</a:t>
          </a:r>
          <a:endParaRPr lang="en-US"/>
        </a:p>
      </dgm:t>
    </dgm:pt>
    <dgm:pt modelId="{A0AEB285-02B3-487B-ABEC-925968799CC5}" type="parTrans" cxnId="{69B224EE-515C-4FDC-B726-859DE35DE90A}">
      <dgm:prSet/>
      <dgm:spPr/>
      <dgm:t>
        <a:bodyPr/>
        <a:lstStyle/>
        <a:p>
          <a:endParaRPr lang="en-US"/>
        </a:p>
      </dgm:t>
    </dgm:pt>
    <dgm:pt modelId="{E9A571B9-3783-4210-981D-51600EB6A3B3}" type="sibTrans" cxnId="{69B224EE-515C-4FDC-B726-859DE35DE90A}">
      <dgm:prSet/>
      <dgm:spPr/>
      <dgm:t>
        <a:bodyPr/>
        <a:lstStyle/>
        <a:p>
          <a:endParaRPr lang="en-US"/>
        </a:p>
      </dgm:t>
    </dgm:pt>
    <dgm:pt modelId="{912FBD07-6BCE-4499-908D-7E9EFCF9B15C}">
      <dgm:prSet/>
      <dgm:spPr/>
      <dgm:t>
        <a:bodyPr/>
        <a:lstStyle/>
        <a:p>
          <a:pPr>
            <a:lnSpc>
              <a:spcPct val="100000"/>
            </a:lnSpc>
          </a:pPr>
          <a:r>
            <a:rPr lang="fr-FR" b="1" dirty="0"/>
            <a:t>Destination marketing : public </a:t>
          </a:r>
          <a:r>
            <a:rPr lang="fr-FR" b="1" dirty="0" err="1"/>
            <a:t>sponsorship</a:t>
          </a:r>
          <a:r>
            <a:rPr lang="fr-FR" b="1" dirty="0"/>
            <a:t> </a:t>
          </a:r>
          <a:r>
            <a:rPr lang="fr-FR" b="1" dirty="0" err="1"/>
            <a:t>strategy</a:t>
          </a:r>
          <a:r>
            <a:rPr lang="fr-FR" b="1" dirty="0"/>
            <a:t> </a:t>
          </a:r>
          <a:endParaRPr lang="en-US" dirty="0"/>
        </a:p>
      </dgm:t>
    </dgm:pt>
    <dgm:pt modelId="{B3048152-722F-4B5E-A205-E19DA47EA184}" type="parTrans" cxnId="{4B106095-0A44-483C-A618-2257720D9910}">
      <dgm:prSet/>
      <dgm:spPr/>
      <dgm:t>
        <a:bodyPr/>
        <a:lstStyle/>
        <a:p>
          <a:endParaRPr lang="en-US"/>
        </a:p>
      </dgm:t>
    </dgm:pt>
    <dgm:pt modelId="{49902DEE-92D4-4115-88C5-E134115EB0B1}" type="sibTrans" cxnId="{4B106095-0A44-483C-A618-2257720D9910}">
      <dgm:prSet/>
      <dgm:spPr/>
      <dgm:t>
        <a:bodyPr/>
        <a:lstStyle/>
        <a:p>
          <a:endParaRPr lang="en-US"/>
        </a:p>
      </dgm:t>
    </dgm:pt>
    <dgm:pt modelId="{3ADD91D6-6779-433B-9A3A-C39C530947A7}" type="pres">
      <dgm:prSet presAssocID="{56533EF9-9E0B-45D0-9BAA-4329A5F67A33}" presName="root" presStyleCnt="0">
        <dgm:presLayoutVars>
          <dgm:dir/>
          <dgm:resizeHandles val="exact"/>
        </dgm:presLayoutVars>
      </dgm:prSet>
      <dgm:spPr/>
    </dgm:pt>
    <dgm:pt modelId="{45E904E2-D1C4-4BD9-97EC-B4635DBFADBE}" type="pres">
      <dgm:prSet presAssocID="{13D0E2D8-38E8-49BA-B63F-9F0B8A23A72D}" presName="compNode" presStyleCnt="0"/>
      <dgm:spPr/>
    </dgm:pt>
    <dgm:pt modelId="{B2C90123-5FA3-4A58-8341-CFFA540C9873}" type="pres">
      <dgm:prSet presAssocID="{13D0E2D8-38E8-49BA-B63F-9F0B8A23A72D}" presName="bgRect" presStyleLbl="bgShp" presStyleIdx="0" presStyleCnt="4"/>
      <dgm:spPr/>
    </dgm:pt>
    <dgm:pt modelId="{403E0844-E694-4E0D-BF7C-7013ACB12786}" type="pres">
      <dgm:prSet presAssocID="{13D0E2D8-38E8-49BA-B63F-9F0B8A23A72D}"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Groupe"/>
        </a:ext>
      </dgm:extLst>
    </dgm:pt>
    <dgm:pt modelId="{0EA6E7E3-4C0F-4E18-AA76-33F7CC962A88}" type="pres">
      <dgm:prSet presAssocID="{13D0E2D8-38E8-49BA-B63F-9F0B8A23A72D}" presName="spaceRect" presStyleCnt="0"/>
      <dgm:spPr/>
    </dgm:pt>
    <dgm:pt modelId="{A1BCDA5B-E40D-4C13-ADFD-5AF8E619BDD2}" type="pres">
      <dgm:prSet presAssocID="{13D0E2D8-38E8-49BA-B63F-9F0B8A23A72D}" presName="parTx" presStyleLbl="revTx" presStyleIdx="0" presStyleCnt="4">
        <dgm:presLayoutVars>
          <dgm:chMax val="0"/>
          <dgm:chPref val="0"/>
        </dgm:presLayoutVars>
      </dgm:prSet>
      <dgm:spPr/>
    </dgm:pt>
    <dgm:pt modelId="{5EE4C857-1342-4035-868D-EB0A81FF1ECE}" type="pres">
      <dgm:prSet presAssocID="{B38E0700-DF8C-402E-A952-7EE98155EB03}" presName="sibTrans" presStyleCnt="0"/>
      <dgm:spPr/>
    </dgm:pt>
    <dgm:pt modelId="{759E99A1-102D-47A4-9938-EB44E1EA87CA}" type="pres">
      <dgm:prSet presAssocID="{31ADCCE3-F55F-4156-8D96-3B94F5A0D114}" presName="compNode" presStyleCnt="0"/>
      <dgm:spPr/>
    </dgm:pt>
    <dgm:pt modelId="{DFEC6B6F-5715-471C-A92F-3C03F9D21430}" type="pres">
      <dgm:prSet presAssocID="{31ADCCE3-F55F-4156-8D96-3B94F5A0D114}" presName="bgRect" presStyleLbl="bgShp" presStyleIdx="1" presStyleCnt="4"/>
      <dgm:spPr/>
    </dgm:pt>
    <dgm:pt modelId="{F2AEF202-200F-48F3-A783-F4C48C8A8BE0}" type="pres">
      <dgm:prSet presAssocID="{31ADCCE3-F55F-4156-8D96-3B94F5A0D114}"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Security Camera Sign"/>
        </a:ext>
      </dgm:extLst>
    </dgm:pt>
    <dgm:pt modelId="{3D0A7DDC-DA84-4E2F-8130-17F9ADBD0DDF}" type="pres">
      <dgm:prSet presAssocID="{31ADCCE3-F55F-4156-8D96-3B94F5A0D114}" presName="spaceRect" presStyleCnt="0"/>
      <dgm:spPr/>
    </dgm:pt>
    <dgm:pt modelId="{C30F071A-65B0-4468-B7B0-C42A23F8DEB0}" type="pres">
      <dgm:prSet presAssocID="{31ADCCE3-F55F-4156-8D96-3B94F5A0D114}" presName="parTx" presStyleLbl="revTx" presStyleIdx="1" presStyleCnt="4">
        <dgm:presLayoutVars>
          <dgm:chMax val="0"/>
          <dgm:chPref val="0"/>
        </dgm:presLayoutVars>
      </dgm:prSet>
      <dgm:spPr/>
    </dgm:pt>
    <dgm:pt modelId="{7A54708E-1906-4413-9F8D-FA4938DF51F1}" type="pres">
      <dgm:prSet presAssocID="{525A312E-644B-415A-AC50-A1383D1A53F8}" presName="sibTrans" presStyleCnt="0"/>
      <dgm:spPr/>
    </dgm:pt>
    <dgm:pt modelId="{32B28C5B-6099-4BA5-8529-537D7EB10174}" type="pres">
      <dgm:prSet presAssocID="{F058ECDA-95BC-4CD8-B704-BD5952D293B1}" presName="compNode" presStyleCnt="0"/>
      <dgm:spPr/>
    </dgm:pt>
    <dgm:pt modelId="{043E5674-A2BA-4D8E-B14B-8C5E614A4055}" type="pres">
      <dgm:prSet presAssocID="{F058ECDA-95BC-4CD8-B704-BD5952D293B1}" presName="bgRect" presStyleLbl="bgShp" presStyleIdx="2" presStyleCnt="4"/>
      <dgm:spPr/>
    </dgm:pt>
    <dgm:pt modelId="{C5872D70-58C4-46A8-BD73-3F9C7A6232A8}" type="pres">
      <dgm:prSet presAssocID="{F058ECDA-95BC-4CD8-B704-BD5952D293B1}"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Irritant"/>
        </a:ext>
      </dgm:extLst>
    </dgm:pt>
    <dgm:pt modelId="{C8B60C7B-1CCA-4805-8E95-8720DCDA04A7}" type="pres">
      <dgm:prSet presAssocID="{F058ECDA-95BC-4CD8-B704-BD5952D293B1}" presName="spaceRect" presStyleCnt="0"/>
      <dgm:spPr/>
    </dgm:pt>
    <dgm:pt modelId="{D2D7AACB-03D1-43BA-982D-435D4E91BE56}" type="pres">
      <dgm:prSet presAssocID="{F058ECDA-95BC-4CD8-B704-BD5952D293B1}" presName="parTx" presStyleLbl="revTx" presStyleIdx="2" presStyleCnt="4">
        <dgm:presLayoutVars>
          <dgm:chMax val="0"/>
          <dgm:chPref val="0"/>
        </dgm:presLayoutVars>
      </dgm:prSet>
      <dgm:spPr/>
    </dgm:pt>
    <dgm:pt modelId="{A281B42C-C19F-4FE4-8C0C-6AA116138B96}" type="pres">
      <dgm:prSet presAssocID="{E9A571B9-3783-4210-981D-51600EB6A3B3}" presName="sibTrans" presStyleCnt="0"/>
      <dgm:spPr/>
    </dgm:pt>
    <dgm:pt modelId="{531F483F-CAAD-41FF-9B7B-FC095F47B713}" type="pres">
      <dgm:prSet presAssocID="{912FBD07-6BCE-4499-908D-7E9EFCF9B15C}" presName="compNode" presStyleCnt="0"/>
      <dgm:spPr/>
    </dgm:pt>
    <dgm:pt modelId="{2321629F-666A-4A64-A807-1D5EAB3AAD3D}" type="pres">
      <dgm:prSet presAssocID="{912FBD07-6BCE-4499-908D-7E9EFCF9B15C}" presName="bgRect" presStyleLbl="bgShp" presStyleIdx="3" presStyleCnt="4"/>
      <dgm:spPr/>
    </dgm:pt>
    <dgm:pt modelId="{32238ED9-BEA7-48AA-84DE-AB87E7887F33}" type="pres">
      <dgm:prSet presAssocID="{912FBD07-6BCE-4499-908D-7E9EFCF9B15C}"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Mégaphone"/>
        </a:ext>
      </dgm:extLst>
    </dgm:pt>
    <dgm:pt modelId="{4982946E-5E9D-4BBD-B995-A997E693468D}" type="pres">
      <dgm:prSet presAssocID="{912FBD07-6BCE-4499-908D-7E9EFCF9B15C}" presName="spaceRect" presStyleCnt="0"/>
      <dgm:spPr/>
    </dgm:pt>
    <dgm:pt modelId="{A2C9D9E3-D65A-4B65-8388-BBBE021CE9D5}" type="pres">
      <dgm:prSet presAssocID="{912FBD07-6BCE-4499-908D-7E9EFCF9B15C}" presName="parTx" presStyleLbl="revTx" presStyleIdx="3" presStyleCnt="4">
        <dgm:presLayoutVars>
          <dgm:chMax val="0"/>
          <dgm:chPref val="0"/>
        </dgm:presLayoutVars>
      </dgm:prSet>
      <dgm:spPr/>
    </dgm:pt>
  </dgm:ptLst>
  <dgm:cxnLst>
    <dgm:cxn modelId="{16886800-699F-4E17-A6F3-DD8A5A50E747}" type="presOf" srcId="{13D0E2D8-38E8-49BA-B63F-9F0B8A23A72D}" destId="{A1BCDA5B-E40D-4C13-ADFD-5AF8E619BDD2}" srcOrd="0" destOrd="0" presId="urn:microsoft.com/office/officeart/2018/2/layout/IconVerticalSolidList"/>
    <dgm:cxn modelId="{2AE9EC2A-7DD4-4EF4-A794-6A839395E03F}" type="presOf" srcId="{31ADCCE3-F55F-4156-8D96-3B94F5A0D114}" destId="{C30F071A-65B0-4468-B7B0-C42A23F8DEB0}" srcOrd="0" destOrd="0" presId="urn:microsoft.com/office/officeart/2018/2/layout/IconVerticalSolidList"/>
    <dgm:cxn modelId="{A91BB673-D62A-44A3-A696-7132FD67FDA4}" type="presOf" srcId="{56533EF9-9E0B-45D0-9BAA-4329A5F67A33}" destId="{3ADD91D6-6779-433B-9A3A-C39C530947A7}" srcOrd="0" destOrd="0" presId="urn:microsoft.com/office/officeart/2018/2/layout/IconVerticalSolidList"/>
    <dgm:cxn modelId="{094BC67A-2EDE-4222-8522-E8D65E19356E}" type="presOf" srcId="{912FBD07-6BCE-4499-908D-7E9EFCF9B15C}" destId="{A2C9D9E3-D65A-4B65-8388-BBBE021CE9D5}" srcOrd="0" destOrd="0" presId="urn:microsoft.com/office/officeart/2018/2/layout/IconVerticalSolidList"/>
    <dgm:cxn modelId="{A945F28C-3B3B-4329-A37B-0339690FC711}" type="presOf" srcId="{F058ECDA-95BC-4CD8-B704-BD5952D293B1}" destId="{D2D7AACB-03D1-43BA-982D-435D4E91BE56}" srcOrd="0" destOrd="0" presId="urn:microsoft.com/office/officeart/2018/2/layout/IconVerticalSolidList"/>
    <dgm:cxn modelId="{1ADC5D8E-DA25-4BA5-BAA5-71737CCA07C4}" srcId="{56533EF9-9E0B-45D0-9BAA-4329A5F67A33}" destId="{31ADCCE3-F55F-4156-8D96-3B94F5A0D114}" srcOrd="1" destOrd="0" parTransId="{6C1F2DBD-350D-493E-A6B2-0644EA48DA68}" sibTransId="{525A312E-644B-415A-AC50-A1383D1A53F8}"/>
    <dgm:cxn modelId="{4B106095-0A44-483C-A618-2257720D9910}" srcId="{56533EF9-9E0B-45D0-9BAA-4329A5F67A33}" destId="{912FBD07-6BCE-4499-908D-7E9EFCF9B15C}" srcOrd="3" destOrd="0" parTransId="{B3048152-722F-4B5E-A205-E19DA47EA184}" sibTransId="{49902DEE-92D4-4115-88C5-E134115EB0B1}"/>
    <dgm:cxn modelId="{7A88B7E6-466C-4E07-A040-3FF5C2799B7E}" srcId="{56533EF9-9E0B-45D0-9BAA-4329A5F67A33}" destId="{13D0E2D8-38E8-49BA-B63F-9F0B8A23A72D}" srcOrd="0" destOrd="0" parTransId="{9D62546F-F182-4332-89A6-1BAE913AB08D}" sibTransId="{B38E0700-DF8C-402E-A952-7EE98155EB03}"/>
    <dgm:cxn modelId="{69B224EE-515C-4FDC-B726-859DE35DE90A}" srcId="{56533EF9-9E0B-45D0-9BAA-4329A5F67A33}" destId="{F058ECDA-95BC-4CD8-B704-BD5952D293B1}" srcOrd="2" destOrd="0" parTransId="{A0AEB285-02B3-487B-ABEC-925968799CC5}" sibTransId="{E9A571B9-3783-4210-981D-51600EB6A3B3}"/>
    <dgm:cxn modelId="{0B9AA39B-95ED-4E71-9602-29FCBA9BAE7A}" type="presParOf" srcId="{3ADD91D6-6779-433B-9A3A-C39C530947A7}" destId="{45E904E2-D1C4-4BD9-97EC-B4635DBFADBE}" srcOrd="0" destOrd="0" presId="urn:microsoft.com/office/officeart/2018/2/layout/IconVerticalSolidList"/>
    <dgm:cxn modelId="{80EA34DE-57C1-4729-8B75-B1FAD0156DC0}" type="presParOf" srcId="{45E904E2-D1C4-4BD9-97EC-B4635DBFADBE}" destId="{B2C90123-5FA3-4A58-8341-CFFA540C9873}" srcOrd="0" destOrd="0" presId="urn:microsoft.com/office/officeart/2018/2/layout/IconVerticalSolidList"/>
    <dgm:cxn modelId="{AAC1DA7E-757A-4C69-B24A-C52739860C19}" type="presParOf" srcId="{45E904E2-D1C4-4BD9-97EC-B4635DBFADBE}" destId="{403E0844-E694-4E0D-BF7C-7013ACB12786}" srcOrd="1" destOrd="0" presId="urn:microsoft.com/office/officeart/2018/2/layout/IconVerticalSolidList"/>
    <dgm:cxn modelId="{B4A49162-09D1-4408-BA75-37C1359F7997}" type="presParOf" srcId="{45E904E2-D1C4-4BD9-97EC-B4635DBFADBE}" destId="{0EA6E7E3-4C0F-4E18-AA76-33F7CC962A88}" srcOrd="2" destOrd="0" presId="urn:microsoft.com/office/officeart/2018/2/layout/IconVerticalSolidList"/>
    <dgm:cxn modelId="{384914C9-E8CB-4B16-8E72-67F4979ABFFA}" type="presParOf" srcId="{45E904E2-D1C4-4BD9-97EC-B4635DBFADBE}" destId="{A1BCDA5B-E40D-4C13-ADFD-5AF8E619BDD2}" srcOrd="3" destOrd="0" presId="urn:microsoft.com/office/officeart/2018/2/layout/IconVerticalSolidList"/>
    <dgm:cxn modelId="{11CD85F3-9861-4F5F-BB81-F801A5437DDF}" type="presParOf" srcId="{3ADD91D6-6779-433B-9A3A-C39C530947A7}" destId="{5EE4C857-1342-4035-868D-EB0A81FF1ECE}" srcOrd="1" destOrd="0" presId="urn:microsoft.com/office/officeart/2018/2/layout/IconVerticalSolidList"/>
    <dgm:cxn modelId="{C602E1FB-DD43-4DE5-B04C-B4C7ABB4BF73}" type="presParOf" srcId="{3ADD91D6-6779-433B-9A3A-C39C530947A7}" destId="{759E99A1-102D-47A4-9938-EB44E1EA87CA}" srcOrd="2" destOrd="0" presId="urn:microsoft.com/office/officeart/2018/2/layout/IconVerticalSolidList"/>
    <dgm:cxn modelId="{0CB7A2A8-5654-4BA4-AC9B-737728A55DD9}" type="presParOf" srcId="{759E99A1-102D-47A4-9938-EB44E1EA87CA}" destId="{DFEC6B6F-5715-471C-A92F-3C03F9D21430}" srcOrd="0" destOrd="0" presId="urn:microsoft.com/office/officeart/2018/2/layout/IconVerticalSolidList"/>
    <dgm:cxn modelId="{1A394754-4259-4761-8F6F-6DC367D74760}" type="presParOf" srcId="{759E99A1-102D-47A4-9938-EB44E1EA87CA}" destId="{F2AEF202-200F-48F3-A783-F4C48C8A8BE0}" srcOrd="1" destOrd="0" presId="urn:microsoft.com/office/officeart/2018/2/layout/IconVerticalSolidList"/>
    <dgm:cxn modelId="{E66D6A36-BFE2-43E3-B6CB-284ABF217E90}" type="presParOf" srcId="{759E99A1-102D-47A4-9938-EB44E1EA87CA}" destId="{3D0A7DDC-DA84-4E2F-8130-17F9ADBD0DDF}" srcOrd="2" destOrd="0" presId="urn:microsoft.com/office/officeart/2018/2/layout/IconVerticalSolidList"/>
    <dgm:cxn modelId="{CB3F9ECA-6732-489C-9486-C92F9061898A}" type="presParOf" srcId="{759E99A1-102D-47A4-9938-EB44E1EA87CA}" destId="{C30F071A-65B0-4468-B7B0-C42A23F8DEB0}" srcOrd="3" destOrd="0" presId="urn:microsoft.com/office/officeart/2018/2/layout/IconVerticalSolidList"/>
    <dgm:cxn modelId="{E53B68FB-F9F7-48E8-B08B-EAEC31F0E6A5}" type="presParOf" srcId="{3ADD91D6-6779-433B-9A3A-C39C530947A7}" destId="{7A54708E-1906-4413-9F8D-FA4938DF51F1}" srcOrd="3" destOrd="0" presId="urn:microsoft.com/office/officeart/2018/2/layout/IconVerticalSolidList"/>
    <dgm:cxn modelId="{B52C8F11-C7EE-4AFF-B856-1EF79A21E721}" type="presParOf" srcId="{3ADD91D6-6779-433B-9A3A-C39C530947A7}" destId="{32B28C5B-6099-4BA5-8529-537D7EB10174}" srcOrd="4" destOrd="0" presId="urn:microsoft.com/office/officeart/2018/2/layout/IconVerticalSolidList"/>
    <dgm:cxn modelId="{329B22D3-09CD-49F3-A95E-5AE352FA6307}" type="presParOf" srcId="{32B28C5B-6099-4BA5-8529-537D7EB10174}" destId="{043E5674-A2BA-4D8E-B14B-8C5E614A4055}" srcOrd="0" destOrd="0" presId="urn:microsoft.com/office/officeart/2018/2/layout/IconVerticalSolidList"/>
    <dgm:cxn modelId="{A79D9396-239B-4E5E-9754-F9003F36AA5F}" type="presParOf" srcId="{32B28C5B-6099-4BA5-8529-537D7EB10174}" destId="{C5872D70-58C4-46A8-BD73-3F9C7A6232A8}" srcOrd="1" destOrd="0" presId="urn:microsoft.com/office/officeart/2018/2/layout/IconVerticalSolidList"/>
    <dgm:cxn modelId="{8F322463-D583-439C-AAFE-8B4B47A0606F}" type="presParOf" srcId="{32B28C5B-6099-4BA5-8529-537D7EB10174}" destId="{C8B60C7B-1CCA-4805-8E95-8720DCDA04A7}" srcOrd="2" destOrd="0" presId="urn:microsoft.com/office/officeart/2018/2/layout/IconVerticalSolidList"/>
    <dgm:cxn modelId="{260FDF80-D8EB-492D-8183-7020972E268C}" type="presParOf" srcId="{32B28C5B-6099-4BA5-8529-537D7EB10174}" destId="{D2D7AACB-03D1-43BA-982D-435D4E91BE56}" srcOrd="3" destOrd="0" presId="urn:microsoft.com/office/officeart/2018/2/layout/IconVerticalSolidList"/>
    <dgm:cxn modelId="{3D37BC41-5C1D-4E80-A07E-50088F8AD4CD}" type="presParOf" srcId="{3ADD91D6-6779-433B-9A3A-C39C530947A7}" destId="{A281B42C-C19F-4FE4-8C0C-6AA116138B96}" srcOrd="5" destOrd="0" presId="urn:microsoft.com/office/officeart/2018/2/layout/IconVerticalSolidList"/>
    <dgm:cxn modelId="{3F753E54-3564-4151-96D9-E2F16108C08B}" type="presParOf" srcId="{3ADD91D6-6779-433B-9A3A-C39C530947A7}" destId="{531F483F-CAAD-41FF-9B7B-FC095F47B713}" srcOrd="6" destOrd="0" presId="urn:microsoft.com/office/officeart/2018/2/layout/IconVerticalSolidList"/>
    <dgm:cxn modelId="{55F22E07-83C5-49C1-BC76-C7E4202C2AD3}" type="presParOf" srcId="{531F483F-CAAD-41FF-9B7B-FC095F47B713}" destId="{2321629F-666A-4A64-A807-1D5EAB3AAD3D}" srcOrd="0" destOrd="0" presId="urn:microsoft.com/office/officeart/2018/2/layout/IconVerticalSolidList"/>
    <dgm:cxn modelId="{4651AB56-3B74-4A37-BE48-98FC5CAA49F0}" type="presParOf" srcId="{531F483F-CAAD-41FF-9B7B-FC095F47B713}" destId="{32238ED9-BEA7-48AA-84DE-AB87E7887F33}" srcOrd="1" destOrd="0" presId="urn:microsoft.com/office/officeart/2018/2/layout/IconVerticalSolidList"/>
    <dgm:cxn modelId="{62ABCDAB-571F-41F4-8A81-4E3B228DE639}" type="presParOf" srcId="{531F483F-CAAD-41FF-9B7B-FC095F47B713}" destId="{4982946E-5E9D-4BBD-B995-A997E693468D}" srcOrd="2" destOrd="0" presId="urn:microsoft.com/office/officeart/2018/2/layout/IconVerticalSolidList"/>
    <dgm:cxn modelId="{F3AB3A4E-459A-42D1-8A83-0F0E35643B2B}" type="presParOf" srcId="{531F483F-CAAD-41FF-9B7B-FC095F47B713}" destId="{A2C9D9E3-D65A-4B65-8388-BBBE021CE9D5}"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775FD6-F926-42A7-B491-12B0631FCCB3}">
      <dsp:nvSpPr>
        <dsp:cNvPr id="0" name=""/>
        <dsp:cNvSpPr/>
      </dsp:nvSpPr>
      <dsp:spPr>
        <a:xfrm>
          <a:off x="0" y="425"/>
          <a:ext cx="6251110" cy="995146"/>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04FDE19-2F77-40AE-A583-B7B29A5D0370}">
      <dsp:nvSpPr>
        <dsp:cNvPr id="0" name=""/>
        <dsp:cNvSpPr/>
      </dsp:nvSpPr>
      <dsp:spPr>
        <a:xfrm>
          <a:off x="301031" y="224333"/>
          <a:ext cx="547330" cy="54733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A89CA03-678E-4FE6-A46C-1A702E311820}">
      <dsp:nvSpPr>
        <dsp:cNvPr id="0" name=""/>
        <dsp:cNvSpPr/>
      </dsp:nvSpPr>
      <dsp:spPr>
        <a:xfrm>
          <a:off x="1149394" y="425"/>
          <a:ext cx="5101715" cy="9951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5320" tIns="105320" rIns="105320" bIns="105320" numCol="1" spcCol="1270" anchor="ctr" anchorCtr="0">
          <a:noAutofit/>
        </a:bodyPr>
        <a:lstStyle/>
        <a:p>
          <a:pPr marL="0" lvl="0" indent="0" algn="l" defTabSz="711200">
            <a:lnSpc>
              <a:spcPct val="100000"/>
            </a:lnSpc>
            <a:spcBef>
              <a:spcPct val="0"/>
            </a:spcBef>
            <a:spcAft>
              <a:spcPct val="35000"/>
            </a:spcAft>
            <a:buNone/>
          </a:pPr>
          <a:r>
            <a:rPr lang="fr-FR" sz="1600" b="1" kern="1200"/>
            <a:t>Passion</a:t>
          </a:r>
          <a:r>
            <a:rPr lang="fr-FR" sz="1600" kern="1200"/>
            <a:t> : executive passion for sport (« President dancer ») : RLD, Kampf, Weber, Lagardere… </a:t>
          </a:r>
          <a:endParaRPr lang="en-US" sz="1600" kern="1200"/>
        </a:p>
      </dsp:txBody>
      <dsp:txXfrm>
        <a:off x="1149394" y="425"/>
        <a:ext cx="5101715" cy="995146"/>
      </dsp:txXfrm>
    </dsp:sp>
    <dsp:sp modelId="{F7895A86-6735-4EAE-98BF-0AEF01113806}">
      <dsp:nvSpPr>
        <dsp:cNvPr id="0" name=""/>
        <dsp:cNvSpPr/>
      </dsp:nvSpPr>
      <dsp:spPr>
        <a:xfrm>
          <a:off x="0" y="1244358"/>
          <a:ext cx="6251110" cy="995146"/>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78A3B45-5F8E-44CE-A500-256AD1BEE587}">
      <dsp:nvSpPr>
        <dsp:cNvPr id="0" name=""/>
        <dsp:cNvSpPr/>
      </dsp:nvSpPr>
      <dsp:spPr>
        <a:xfrm>
          <a:off x="301031" y="1468266"/>
          <a:ext cx="547330" cy="54733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B82BBCB-EA9E-4221-8B20-FE921D8C6613}">
      <dsp:nvSpPr>
        <dsp:cNvPr id="0" name=""/>
        <dsp:cNvSpPr/>
      </dsp:nvSpPr>
      <dsp:spPr>
        <a:xfrm>
          <a:off x="1149394" y="1244358"/>
          <a:ext cx="5101715" cy="9951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5320" tIns="105320" rIns="105320" bIns="105320" numCol="1" spcCol="1270" anchor="ctr" anchorCtr="0">
          <a:noAutofit/>
        </a:bodyPr>
        <a:lstStyle/>
        <a:p>
          <a:pPr marL="0" lvl="0" indent="0" algn="l" defTabSz="711200">
            <a:lnSpc>
              <a:spcPct val="100000"/>
            </a:lnSpc>
            <a:spcBef>
              <a:spcPct val="0"/>
            </a:spcBef>
            <a:spcAft>
              <a:spcPct val="35000"/>
            </a:spcAft>
            <a:buNone/>
          </a:pPr>
          <a:r>
            <a:rPr lang="fr-FR" sz="1600" b="1" kern="1200"/>
            <a:t>Opportunism</a:t>
          </a:r>
          <a:r>
            <a:rPr lang="fr-FR" sz="1600" kern="1200"/>
            <a:t> : business project using sponsorphip potential : Sodexo, Veolia, Vinci, Eiffage, Bouygues, Thomson &amp; PSG… </a:t>
          </a:r>
          <a:endParaRPr lang="en-US" sz="1600" kern="1200"/>
        </a:p>
      </dsp:txBody>
      <dsp:txXfrm>
        <a:off x="1149394" y="1244358"/>
        <a:ext cx="5101715" cy="995146"/>
      </dsp:txXfrm>
    </dsp:sp>
    <dsp:sp modelId="{DC1575AF-D21A-4BFB-B846-8954B651EEFC}">
      <dsp:nvSpPr>
        <dsp:cNvPr id="0" name=""/>
        <dsp:cNvSpPr/>
      </dsp:nvSpPr>
      <dsp:spPr>
        <a:xfrm>
          <a:off x="0" y="2488292"/>
          <a:ext cx="6251110" cy="995146"/>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B9DADF5-7505-4815-8B96-EAE2260638D7}">
      <dsp:nvSpPr>
        <dsp:cNvPr id="0" name=""/>
        <dsp:cNvSpPr/>
      </dsp:nvSpPr>
      <dsp:spPr>
        <a:xfrm>
          <a:off x="301031" y="2712200"/>
          <a:ext cx="547330" cy="54733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B56BCC5-B3BD-4662-B3B5-4F78B9CC3E3A}">
      <dsp:nvSpPr>
        <dsp:cNvPr id="0" name=""/>
        <dsp:cNvSpPr/>
      </dsp:nvSpPr>
      <dsp:spPr>
        <a:xfrm>
          <a:off x="1149394" y="2488292"/>
          <a:ext cx="5101715" cy="9951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5320" tIns="105320" rIns="105320" bIns="105320" numCol="1" spcCol="1270" anchor="ctr" anchorCtr="0">
          <a:noAutofit/>
        </a:bodyPr>
        <a:lstStyle/>
        <a:p>
          <a:pPr marL="0" lvl="0" indent="0" algn="l" defTabSz="711200">
            <a:lnSpc>
              <a:spcPct val="100000"/>
            </a:lnSpc>
            <a:spcBef>
              <a:spcPct val="0"/>
            </a:spcBef>
            <a:spcAft>
              <a:spcPct val="35000"/>
            </a:spcAft>
            <a:buNone/>
          </a:pPr>
          <a:r>
            <a:rPr lang="fr-FR" sz="1600" b="1" kern="1200"/>
            <a:t>Strategic</a:t>
          </a:r>
          <a:r>
            <a:rPr lang="fr-FR" sz="1600" kern="1200"/>
            <a:t> : sponsorshsip integration into a global brand strategy : We all speak football, We are tennis… </a:t>
          </a:r>
          <a:endParaRPr lang="en-US" sz="1600" kern="1200"/>
        </a:p>
      </dsp:txBody>
      <dsp:txXfrm>
        <a:off x="1149394" y="2488292"/>
        <a:ext cx="5101715" cy="99514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8832BA-DE03-4E42-BC21-DDF153822821}">
      <dsp:nvSpPr>
        <dsp:cNvPr id="0" name=""/>
        <dsp:cNvSpPr/>
      </dsp:nvSpPr>
      <dsp:spPr>
        <a:xfrm>
          <a:off x="0" y="1351"/>
          <a:ext cx="10515600" cy="57575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2E71C4E-BDC1-416A-977D-A808E2A1AB54}">
      <dsp:nvSpPr>
        <dsp:cNvPr id="0" name=""/>
        <dsp:cNvSpPr/>
      </dsp:nvSpPr>
      <dsp:spPr>
        <a:xfrm>
          <a:off x="174164" y="130895"/>
          <a:ext cx="316663" cy="31666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39FF4B4-ADC3-42FB-9947-4E47664AB572}">
      <dsp:nvSpPr>
        <dsp:cNvPr id="0" name=""/>
        <dsp:cNvSpPr/>
      </dsp:nvSpPr>
      <dsp:spPr>
        <a:xfrm>
          <a:off x="664992" y="1351"/>
          <a:ext cx="9850607" cy="575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34" tIns="60934" rIns="60934" bIns="60934" numCol="1" spcCol="1270" anchor="ctr" anchorCtr="0">
          <a:noAutofit/>
        </a:bodyPr>
        <a:lstStyle/>
        <a:p>
          <a:pPr marL="0" lvl="0" indent="0" algn="l" defTabSz="844550">
            <a:lnSpc>
              <a:spcPct val="100000"/>
            </a:lnSpc>
            <a:spcBef>
              <a:spcPct val="0"/>
            </a:spcBef>
            <a:spcAft>
              <a:spcPct val="35000"/>
            </a:spcAft>
            <a:buNone/>
          </a:pPr>
          <a:r>
            <a:rPr lang="fr-FR" sz="1900" kern="1200"/>
            <a:t>Target : identity, image, brand strategy</a:t>
          </a:r>
          <a:endParaRPr lang="en-US" sz="1900" kern="1200"/>
        </a:p>
      </dsp:txBody>
      <dsp:txXfrm>
        <a:off x="664992" y="1351"/>
        <a:ext cx="9850607" cy="575750"/>
      </dsp:txXfrm>
    </dsp:sp>
    <dsp:sp modelId="{701174D9-D451-45AB-BB54-CDA07F623186}">
      <dsp:nvSpPr>
        <dsp:cNvPr id="0" name=""/>
        <dsp:cNvSpPr/>
      </dsp:nvSpPr>
      <dsp:spPr>
        <a:xfrm>
          <a:off x="0" y="721039"/>
          <a:ext cx="10515600" cy="57575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992C48B-EB01-4EFB-AA24-A6C7460DCB20}">
      <dsp:nvSpPr>
        <dsp:cNvPr id="0" name=""/>
        <dsp:cNvSpPr/>
      </dsp:nvSpPr>
      <dsp:spPr>
        <a:xfrm>
          <a:off x="174164" y="850583"/>
          <a:ext cx="316663" cy="31666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3E7874-5DAB-43A7-BD27-50722AA127B9}">
      <dsp:nvSpPr>
        <dsp:cNvPr id="0" name=""/>
        <dsp:cNvSpPr/>
      </dsp:nvSpPr>
      <dsp:spPr>
        <a:xfrm>
          <a:off x="664992" y="721039"/>
          <a:ext cx="9850607" cy="575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34" tIns="60934" rIns="60934" bIns="60934" numCol="1" spcCol="1270" anchor="ctr" anchorCtr="0">
          <a:noAutofit/>
        </a:bodyPr>
        <a:lstStyle/>
        <a:p>
          <a:pPr marL="0" lvl="0" indent="0" algn="l" defTabSz="844550">
            <a:lnSpc>
              <a:spcPct val="100000"/>
            </a:lnSpc>
            <a:spcBef>
              <a:spcPct val="0"/>
            </a:spcBef>
            <a:spcAft>
              <a:spcPct val="35000"/>
            </a:spcAft>
            <a:buNone/>
          </a:pPr>
          <a:r>
            <a:rPr lang="fr-FR" sz="1900" kern="1200" dirty="0"/>
            <a:t>Goals : Direction : </a:t>
          </a:r>
          <a:r>
            <a:rPr lang="fr-FR" sz="1900" kern="1200" dirty="0" err="1"/>
            <a:t>strategy</a:t>
          </a:r>
          <a:r>
            <a:rPr lang="fr-FR" sz="1900" kern="1200" dirty="0"/>
            <a:t>, </a:t>
          </a:r>
          <a:r>
            <a:rPr lang="fr-FR" sz="1900" kern="1200" dirty="0" err="1"/>
            <a:t>competitive</a:t>
          </a:r>
          <a:r>
            <a:rPr lang="fr-FR" sz="1900" kern="1200" dirty="0"/>
            <a:t> </a:t>
          </a:r>
          <a:r>
            <a:rPr lang="fr-FR" sz="1900" kern="1200" dirty="0" err="1"/>
            <a:t>advantage</a:t>
          </a:r>
          <a:r>
            <a:rPr lang="fr-FR" sz="1900" kern="1200" dirty="0"/>
            <a:t>, </a:t>
          </a:r>
          <a:r>
            <a:rPr lang="fr-FR" sz="1900" kern="1200" dirty="0" err="1"/>
            <a:t>needs</a:t>
          </a:r>
          <a:r>
            <a:rPr lang="fr-FR" sz="1900" kern="1200" dirty="0"/>
            <a:t> anticipation</a:t>
          </a:r>
          <a:endParaRPr lang="en-US" sz="1900" kern="1200" dirty="0"/>
        </a:p>
      </dsp:txBody>
      <dsp:txXfrm>
        <a:off x="664992" y="721039"/>
        <a:ext cx="9850607" cy="575750"/>
      </dsp:txXfrm>
    </dsp:sp>
    <dsp:sp modelId="{1C95BCE9-8C0A-44E8-95A7-3586B1BC675B}">
      <dsp:nvSpPr>
        <dsp:cNvPr id="0" name=""/>
        <dsp:cNvSpPr/>
      </dsp:nvSpPr>
      <dsp:spPr>
        <a:xfrm>
          <a:off x="0" y="1440728"/>
          <a:ext cx="10515600" cy="57575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3763686-8FDB-4F77-BA74-99DA81360695}">
      <dsp:nvSpPr>
        <dsp:cNvPr id="0" name=""/>
        <dsp:cNvSpPr/>
      </dsp:nvSpPr>
      <dsp:spPr>
        <a:xfrm>
          <a:off x="174164" y="1570272"/>
          <a:ext cx="316663" cy="31666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B53AB23-4E6E-46DF-B9D6-E081898DCCA1}">
      <dsp:nvSpPr>
        <dsp:cNvPr id="0" name=""/>
        <dsp:cNvSpPr/>
      </dsp:nvSpPr>
      <dsp:spPr>
        <a:xfrm>
          <a:off x="664992" y="1440728"/>
          <a:ext cx="9850607" cy="575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34" tIns="60934" rIns="60934" bIns="60934" numCol="1" spcCol="1270" anchor="ctr" anchorCtr="0">
          <a:noAutofit/>
        </a:bodyPr>
        <a:lstStyle/>
        <a:p>
          <a:pPr marL="0" lvl="0" indent="0" algn="l" defTabSz="844550">
            <a:lnSpc>
              <a:spcPct val="100000"/>
            </a:lnSpc>
            <a:spcBef>
              <a:spcPct val="0"/>
            </a:spcBef>
            <a:spcAft>
              <a:spcPct val="35000"/>
            </a:spcAft>
            <a:buNone/>
          </a:pPr>
          <a:r>
            <a:rPr lang="fr-FR" sz="1900" kern="1200"/>
            <a:t>Communication channels</a:t>
          </a:r>
          <a:endParaRPr lang="en-US" sz="1900" kern="1200"/>
        </a:p>
      </dsp:txBody>
      <dsp:txXfrm>
        <a:off x="664992" y="1440728"/>
        <a:ext cx="9850607" cy="575750"/>
      </dsp:txXfrm>
    </dsp:sp>
    <dsp:sp modelId="{6B633597-7717-41BA-9E88-56CE05402A6F}">
      <dsp:nvSpPr>
        <dsp:cNvPr id="0" name=""/>
        <dsp:cNvSpPr/>
      </dsp:nvSpPr>
      <dsp:spPr>
        <a:xfrm>
          <a:off x="0" y="2160417"/>
          <a:ext cx="10515600" cy="57575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7A92D41-1D91-4D10-B29F-BF25203790B5}">
      <dsp:nvSpPr>
        <dsp:cNvPr id="0" name=""/>
        <dsp:cNvSpPr/>
      </dsp:nvSpPr>
      <dsp:spPr>
        <a:xfrm>
          <a:off x="174164" y="2289961"/>
          <a:ext cx="316663" cy="316663"/>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A2BDD6B-27A0-432E-9A49-FFD471C315A8}">
      <dsp:nvSpPr>
        <dsp:cNvPr id="0" name=""/>
        <dsp:cNvSpPr/>
      </dsp:nvSpPr>
      <dsp:spPr>
        <a:xfrm>
          <a:off x="664992" y="2160417"/>
          <a:ext cx="9850607" cy="575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34" tIns="60934" rIns="60934" bIns="60934" numCol="1" spcCol="1270" anchor="ctr" anchorCtr="0">
          <a:noAutofit/>
        </a:bodyPr>
        <a:lstStyle/>
        <a:p>
          <a:pPr marL="0" lvl="0" indent="0" algn="l" defTabSz="844550">
            <a:lnSpc>
              <a:spcPct val="100000"/>
            </a:lnSpc>
            <a:spcBef>
              <a:spcPct val="0"/>
            </a:spcBef>
            <a:spcAft>
              <a:spcPct val="35000"/>
            </a:spcAft>
            <a:buNone/>
          </a:pPr>
          <a:r>
            <a:rPr lang="fr-FR" sz="1900" kern="1200"/>
            <a:t>Financial potential : Turnover, assets…</a:t>
          </a:r>
          <a:endParaRPr lang="en-US" sz="1900" kern="1200"/>
        </a:p>
      </dsp:txBody>
      <dsp:txXfrm>
        <a:off x="664992" y="2160417"/>
        <a:ext cx="9850607" cy="575750"/>
      </dsp:txXfrm>
    </dsp:sp>
    <dsp:sp modelId="{9F1576BD-AA79-4FEE-AA22-1274248E60B9}">
      <dsp:nvSpPr>
        <dsp:cNvPr id="0" name=""/>
        <dsp:cNvSpPr/>
      </dsp:nvSpPr>
      <dsp:spPr>
        <a:xfrm>
          <a:off x="0" y="2880106"/>
          <a:ext cx="10515600" cy="57575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BF8701B-DB8E-40C1-8407-21F5A68BCE53}">
      <dsp:nvSpPr>
        <dsp:cNvPr id="0" name=""/>
        <dsp:cNvSpPr/>
      </dsp:nvSpPr>
      <dsp:spPr>
        <a:xfrm>
          <a:off x="174164" y="3009650"/>
          <a:ext cx="316663" cy="316663"/>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72CDA94-DC44-4D8E-9160-17F4E3562F9F}">
      <dsp:nvSpPr>
        <dsp:cNvPr id="0" name=""/>
        <dsp:cNvSpPr/>
      </dsp:nvSpPr>
      <dsp:spPr>
        <a:xfrm>
          <a:off x="664992" y="2880106"/>
          <a:ext cx="9850607" cy="575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34" tIns="60934" rIns="60934" bIns="60934" numCol="1" spcCol="1270" anchor="ctr" anchorCtr="0">
          <a:noAutofit/>
        </a:bodyPr>
        <a:lstStyle/>
        <a:p>
          <a:pPr marL="0" lvl="0" indent="0" algn="l" defTabSz="844550">
            <a:lnSpc>
              <a:spcPct val="100000"/>
            </a:lnSpc>
            <a:spcBef>
              <a:spcPct val="0"/>
            </a:spcBef>
            <a:spcAft>
              <a:spcPct val="35000"/>
            </a:spcAft>
            <a:buNone/>
          </a:pPr>
          <a:r>
            <a:rPr lang="fr-FR" sz="1900" kern="1200"/>
            <a:t>Sponsorship existing actions</a:t>
          </a:r>
          <a:endParaRPr lang="en-US" sz="1900" kern="1200"/>
        </a:p>
      </dsp:txBody>
      <dsp:txXfrm>
        <a:off x="664992" y="2880106"/>
        <a:ext cx="9850607" cy="575750"/>
      </dsp:txXfrm>
    </dsp:sp>
    <dsp:sp modelId="{CEA08351-8766-4184-9A48-987F7D6C58BB}">
      <dsp:nvSpPr>
        <dsp:cNvPr id="0" name=""/>
        <dsp:cNvSpPr/>
      </dsp:nvSpPr>
      <dsp:spPr>
        <a:xfrm>
          <a:off x="0" y="3599794"/>
          <a:ext cx="10515600" cy="57575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DB0ECD1-73A6-40B6-9C0D-3A977E757E32}">
      <dsp:nvSpPr>
        <dsp:cNvPr id="0" name=""/>
        <dsp:cNvSpPr/>
      </dsp:nvSpPr>
      <dsp:spPr>
        <a:xfrm>
          <a:off x="174164" y="3729338"/>
          <a:ext cx="316663" cy="316663"/>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79AFFC0-7915-4AC1-A33C-132C01D445FE}">
      <dsp:nvSpPr>
        <dsp:cNvPr id="0" name=""/>
        <dsp:cNvSpPr/>
      </dsp:nvSpPr>
      <dsp:spPr>
        <a:xfrm>
          <a:off x="664992" y="3599794"/>
          <a:ext cx="4732020" cy="575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34" tIns="60934" rIns="60934" bIns="60934" numCol="1" spcCol="1270" anchor="ctr" anchorCtr="0">
          <a:noAutofit/>
        </a:bodyPr>
        <a:lstStyle/>
        <a:p>
          <a:pPr marL="0" lvl="0" indent="0" algn="l" defTabSz="844550">
            <a:lnSpc>
              <a:spcPct val="100000"/>
            </a:lnSpc>
            <a:spcBef>
              <a:spcPct val="0"/>
            </a:spcBef>
            <a:spcAft>
              <a:spcPct val="35000"/>
            </a:spcAft>
            <a:buNone/>
          </a:pPr>
          <a:r>
            <a:rPr lang="fr-FR" sz="1900" kern="1200"/>
            <a:t>Who is the BOSS inside the company :</a:t>
          </a:r>
          <a:endParaRPr lang="en-US" sz="1900" kern="1200"/>
        </a:p>
      </dsp:txBody>
      <dsp:txXfrm>
        <a:off x="664992" y="3599794"/>
        <a:ext cx="4732020" cy="575750"/>
      </dsp:txXfrm>
    </dsp:sp>
    <dsp:sp modelId="{273B2330-39CB-4DB7-B878-0ED4F0EE8B73}">
      <dsp:nvSpPr>
        <dsp:cNvPr id="0" name=""/>
        <dsp:cNvSpPr/>
      </dsp:nvSpPr>
      <dsp:spPr>
        <a:xfrm>
          <a:off x="5397012" y="3599794"/>
          <a:ext cx="5118587" cy="575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34" tIns="60934" rIns="60934" bIns="60934" numCol="1" spcCol="1270" anchor="ctr" anchorCtr="0">
          <a:noAutofit/>
        </a:bodyPr>
        <a:lstStyle/>
        <a:p>
          <a:pPr marL="0" lvl="0" indent="0" algn="l" defTabSz="488950">
            <a:lnSpc>
              <a:spcPct val="100000"/>
            </a:lnSpc>
            <a:spcBef>
              <a:spcPct val="0"/>
            </a:spcBef>
            <a:spcAft>
              <a:spcPct val="35000"/>
            </a:spcAft>
            <a:buNone/>
          </a:pPr>
          <a:r>
            <a:rPr lang="fr-FR" sz="1100" kern="1200"/>
            <a:t>Access</a:t>
          </a:r>
          <a:endParaRPr lang="en-US" sz="1100" kern="1200"/>
        </a:p>
        <a:p>
          <a:pPr marL="0" lvl="0" indent="0" algn="l" defTabSz="488950">
            <a:lnSpc>
              <a:spcPct val="100000"/>
            </a:lnSpc>
            <a:spcBef>
              <a:spcPct val="0"/>
            </a:spcBef>
            <a:spcAft>
              <a:spcPct val="35000"/>
            </a:spcAft>
            <a:buNone/>
          </a:pPr>
          <a:r>
            <a:rPr lang="fr-FR" sz="1100" kern="1200"/>
            <a:t>Working on his personnality and the link the your sport (fan, practice, networks…)</a:t>
          </a:r>
          <a:endParaRPr lang="en-US" sz="1100" kern="1200"/>
        </a:p>
      </dsp:txBody>
      <dsp:txXfrm>
        <a:off x="5397012" y="3599794"/>
        <a:ext cx="5118587" cy="57575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A614BB-8BAC-40A8-8728-4A4DAC2E7B9D}">
      <dsp:nvSpPr>
        <dsp:cNvPr id="0" name=""/>
        <dsp:cNvSpPr/>
      </dsp:nvSpPr>
      <dsp:spPr>
        <a:xfrm>
          <a:off x="0" y="473"/>
          <a:ext cx="6784259"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F7861CF6-E776-4A93-A8DA-0CC64DC6FB76}">
      <dsp:nvSpPr>
        <dsp:cNvPr id="0" name=""/>
        <dsp:cNvSpPr/>
      </dsp:nvSpPr>
      <dsp:spPr>
        <a:xfrm>
          <a:off x="0" y="473"/>
          <a:ext cx="6784259" cy="774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kern="1200"/>
            <a:t>Teasing « who you are » / your difference / Brand Values </a:t>
          </a:r>
          <a:r>
            <a:rPr lang="fr-FR" sz="1800" b="1" kern="1200">
              <a:sym typeface="Wingdings" panose="05000000000000000000" pitchFamily="2" charset="2"/>
            </a:rPr>
            <a:t></a:t>
          </a:r>
          <a:r>
            <a:rPr lang="fr-FR" sz="1800" b="1" kern="1200"/>
            <a:t> YOUR VALUE PROPOSITIONS (video is usefull)</a:t>
          </a:r>
          <a:endParaRPr lang="en-US" sz="1800" kern="1200"/>
        </a:p>
      </dsp:txBody>
      <dsp:txXfrm>
        <a:off x="0" y="473"/>
        <a:ext cx="6784259" cy="774828"/>
      </dsp:txXfrm>
    </dsp:sp>
    <dsp:sp modelId="{672DB8E0-6227-4E8B-A449-980DD9A26D68}">
      <dsp:nvSpPr>
        <dsp:cNvPr id="0" name=""/>
        <dsp:cNvSpPr/>
      </dsp:nvSpPr>
      <dsp:spPr>
        <a:xfrm>
          <a:off x="0" y="775301"/>
          <a:ext cx="6784259"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BFD25140-9E73-4799-853E-921BE84646AB}">
      <dsp:nvSpPr>
        <dsp:cNvPr id="0" name=""/>
        <dsp:cNvSpPr/>
      </dsp:nvSpPr>
      <dsp:spPr>
        <a:xfrm>
          <a:off x="0" y="775301"/>
          <a:ext cx="6784259" cy="774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kern="1200"/>
            <a:t>Business Target : Industry/Common Values/Sensemaking reason to activate</a:t>
          </a:r>
          <a:r>
            <a:rPr lang="fr-FR" sz="1800" b="1" kern="1200">
              <a:sym typeface="Wingdings" panose="05000000000000000000" pitchFamily="2" charset="2"/>
            </a:rPr>
            <a:t></a:t>
          </a:r>
          <a:r>
            <a:rPr lang="fr-FR" sz="1800" b="1" kern="1200"/>
            <a:t> personnal relationnal INTRODUCTION (who/how/when…)</a:t>
          </a:r>
          <a:endParaRPr lang="en-US" sz="1800" kern="1200"/>
        </a:p>
      </dsp:txBody>
      <dsp:txXfrm>
        <a:off x="0" y="775301"/>
        <a:ext cx="6784259" cy="774828"/>
      </dsp:txXfrm>
    </dsp:sp>
    <dsp:sp modelId="{6FC59ED3-5377-4BF2-ABC7-1CC1B3300A2F}">
      <dsp:nvSpPr>
        <dsp:cNvPr id="0" name=""/>
        <dsp:cNvSpPr/>
      </dsp:nvSpPr>
      <dsp:spPr>
        <a:xfrm>
          <a:off x="0" y="1550129"/>
          <a:ext cx="6784259"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CE0EF17A-F81C-4718-952C-55F29202086C}">
      <dsp:nvSpPr>
        <dsp:cNvPr id="0" name=""/>
        <dsp:cNvSpPr/>
      </dsp:nvSpPr>
      <dsp:spPr>
        <a:xfrm>
          <a:off x="0" y="1550129"/>
          <a:ext cx="6784259" cy="774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kern="1200"/>
            <a:t>Activations program : VREE / Justify your fit with your sponsors needs/Cost-Benefit</a:t>
          </a:r>
          <a:r>
            <a:rPr lang="fr-FR" sz="1800" b="1" kern="1200">
              <a:sym typeface="Wingdings" panose="05000000000000000000" pitchFamily="2" charset="2"/>
            </a:rPr>
            <a:t></a:t>
          </a:r>
          <a:r>
            <a:rPr lang="fr-FR" sz="1800" b="1" kern="1200"/>
            <a:t> VALUE PROPOSITIONS FOR yOUR CLIENT</a:t>
          </a:r>
          <a:endParaRPr lang="en-US" sz="1800" kern="1200"/>
        </a:p>
      </dsp:txBody>
      <dsp:txXfrm>
        <a:off x="0" y="1550129"/>
        <a:ext cx="6784259" cy="774828"/>
      </dsp:txXfrm>
    </dsp:sp>
    <dsp:sp modelId="{8E51C2EA-E396-403C-A2F5-52351112D161}">
      <dsp:nvSpPr>
        <dsp:cNvPr id="0" name=""/>
        <dsp:cNvSpPr/>
      </dsp:nvSpPr>
      <dsp:spPr>
        <a:xfrm>
          <a:off x="0" y="2324957"/>
          <a:ext cx="6784259"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2D3FAF74-0F89-4D66-B83E-2F210C60B2E7}">
      <dsp:nvSpPr>
        <dsp:cNvPr id="0" name=""/>
        <dsp:cNvSpPr/>
      </dsp:nvSpPr>
      <dsp:spPr>
        <a:xfrm>
          <a:off x="0" y="2324957"/>
          <a:ext cx="6784259" cy="774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kern="1200"/>
            <a:t>VALUE CREATION : How to measure ROO or ROI ? </a:t>
          </a:r>
          <a:endParaRPr lang="en-US" sz="1800" kern="1200"/>
        </a:p>
      </dsp:txBody>
      <dsp:txXfrm>
        <a:off x="0" y="2324957"/>
        <a:ext cx="6784259" cy="774828"/>
      </dsp:txXfrm>
    </dsp:sp>
    <dsp:sp modelId="{11C3F827-7403-440B-A799-E2B1501665B1}">
      <dsp:nvSpPr>
        <dsp:cNvPr id="0" name=""/>
        <dsp:cNvSpPr/>
      </dsp:nvSpPr>
      <dsp:spPr>
        <a:xfrm>
          <a:off x="0" y="3099785"/>
          <a:ext cx="6784259"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AD0E8554-7FCB-4CC4-B5A9-4EE7968DA2AD}">
      <dsp:nvSpPr>
        <dsp:cNvPr id="0" name=""/>
        <dsp:cNvSpPr/>
      </dsp:nvSpPr>
      <dsp:spPr>
        <a:xfrm>
          <a:off x="0" y="3099785"/>
          <a:ext cx="6784259" cy="774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kern="1200"/>
            <a:t>Packs and Pricing </a:t>
          </a:r>
          <a:endParaRPr lang="en-US" sz="1800" kern="1200"/>
        </a:p>
      </dsp:txBody>
      <dsp:txXfrm>
        <a:off x="0" y="3099785"/>
        <a:ext cx="6784259" cy="77482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B58127-611B-4404-B6C2-C40DB0FE1F86}">
      <dsp:nvSpPr>
        <dsp:cNvPr id="0" name=""/>
        <dsp:cNvSpPr/>
      </dsp:nvSpPr>
      <dsp:spPr>
        <a:xfrm>
          <a:off x="3609340" y="76160"/>
          <a:ext cx="3655695" cy="3655695"/>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2500" b="0" i="0" u="none" strike="noStrike" kern="1200" cap="none" normalizeH="0" baseline="0" dirty="0">
              <a:ln>
                <a:noFill/>
              </a:ln>
              <a:solidFill>
                <a:schemeClr val="tx1"/>
              </a:solidFill>
              <a:effectLst/>
              <a:latin typeface="Tahoma" pitchFamily="34" charset="0"/>
              <a:cs typeface="Arial" charset="0"/>
            </a:rPr>
            <a:t>Event </a:t>
          </a:r>
          <a:r>
            <a:rPr kumimoji="0" lang="fr-FR" sz="2500" b="0" i="0" u="none" strike="noStrike" kern="1200" cap="none" normalizeH="0" baseline="0" dirty="0" err="1">
              <a:ln>
                <a:noFill/>
              </a:ln>
              <a:solidFill>
                <a:schemeClr val="tx1"/>
              </a:solidFill>
              <a:effectLst/>
              <a:latin typeface="Tahoma" pitchFamily="34" charset="0"/>
              <a:cs typeface="Arial" charset="0"/>
            </a:rPr>
            <a:t>Stakeholders</a:t>
          </a:r>
          <a:endParaRPr kumimoji="0" lang="fr-FR" sz="2500" b="0" i="0" u="none" strike="noStrike" kern="1200" cap="none" normalizeH="0" baseline="0" dirty="0">
            <a:ln>
              <a:noFill/>
            </a:ln>
            <a:solidFill>
              <a:schemeClr val="tx1"/>
            </a:solidFill>
            <a:effectLst/>
            <a:latin typeface="Tahoma" pitchFamily="34"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2500" b="0" i="0" u="none" strike="noStrike" kern="1200" cap="none" normalizeH="0" baseline="0" dirty="0">
            <a:ln>
              <a:noFill/>
            </a:ln>
            <a:solidFill>
              <a:schemeClr val="tx1"/>
            </a:solidFill>
            <a:effectLst/>
            <a:latin typeface="Tahoma" pitchFamily="34"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fr-FR" sz="2500" b="0" i="0" u="none" strike="noStrike" kern="1200" cap="none" normalizeH="0" baseline="0" dirty="0">
              <a:ln>
                <a:noFill/>
              </a:ln>
              <a:solidFill>
                <a:schemeClr val="tx1"/>
              </a:solidFill>
              <a:effectLst/>
              <a:latin typeface="Tahoma" pitchFamily="34" charset="0"/>
              <a:cs typeface="Arial" charset="0"/>
            </a:rPr>
            <a:t>Communication </a:t>
          </a:r>
          <a:r>
            <a:rPr kumimoji="0" lang="fr-FR" sz="2500" b="0" i="0" u="none" strike="noStrike" kern="1200" cap="none" normalizeH="0" baseline="0" dirty="0" err="1">
              <a:ln>
                <a:noFill/>
              </a:ln>
              <a:solidFill>
                <a:schemeClr val="tx1"/>
              </a:solidFill>
              <a:effectLst/>
              <a:latin typeface="Tahoma" pitchFamily="34" charset="0"/>
              <a:cs typeface="Arial" charset="0"/>
            </a:rPr>
            <a:t>platform</a:t>
          </a:r>
          <a:endParaRPr kumimoji="0" lang="fr-FR" sz="2500" b="0" i="0" u="none" strike="noStrike" kern="1200" cap="none" normalizeH="0" baseline="0" dirty="0">
            <a:ln>
              <a:noFill/>
            </a:ln>
            <a:solidFill>
              <a:schemeClr val="tx1"/>
            </a:solidFill>
            <a:effectLst/>
            <a:latin typeface="Tahoma" pitchFamily="34" charset="0"/>
            <a:cs typeface="Arial" charset="0"/>
          </a:endParaRPr>
        </a:p>
      </dsp:txBody>
      <dsp:txXfrm>
        <a:off x="4096766" y="715906"/>
        <a:ext cx="2680843" cy="1645062"/>
      </dsp:txXfrm>
    </dsp:sp>
    <dsp:sp modelId="{CA30DAC7-14F9-49B3-89DB-D9BC0D1279AB}">
      <dsp:nvSpPr>
        <dsp:cNvPr id="0" name=""/>
        <dsp:cNvSpPr/>
      </dsp:nvSpPr>
      <dsp:spPr>
        <a:xfrm>
          <a:off x="4928437" y="2360969"/>
          <a:ext cx="3655695" cy="3655695"/>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2500" b="0" i="0" u="none" strike="noStrike" kern="1200" cap="none" normalizeH="0" baseline="0" dirty="0" err="1">
              <a:ln>
                <a:noFill/>
              </a:ln>
              <a:solidFill>
                <a:schemeClr val="tx1"/>
              </a:solidFill>
              <a:effectLst/>
              <a:latin typeface="Tahoma" pitchFamily="34" charset="0"/>
              <a:cs typeface="Arial" charset="0"/>
            </a:rPr>
            <a:t>Stakeholders</a:t>
          </a:r>
          <a:r>
            <a:rPr kumimoji="0" lang="fr-FR" sz="2500" b="0" i="0" u="none" strike="noStrike" kern="1200" cap="none" normalizeH="0" baseline="0" dirty="0">
              <a:ln>
                <a:noFill/>
              </a:ln>
              <a:solidFill>
                <a:schemeClr val="tx1"/>
              </a:solidFill>
              <a:effectLst/>
              <a:latin typeface="Tahoma" pitchFamily="34" charset="0"/>
              <a:cs typeface="Arial" charset="0"/>
            </a:rPr>
            <a:t> </a:t>
          </a:r>
          <a:r>
            <a:rPr kumimoji="0" lang="fr-FR" sz="2500" b="0" i="0" u="none" strike="noStrike" kern="1200" cap="none" normalizeH="0" baseline="0" dirty="0" err="1">
              <a:ln>
                <a:noFill/>
              </a:ln>
              <a:solidFill>
                <a:schemeClr val="tx1"/>
              </a:solidFill>
              <a:effectLst/>
              <a:latin typeface="Tahoma" pitchFamily="34" charset="0"/>
              <a:cs typeface="Arial" charset="0"/>
            </a:rPr>
            <a:t>with</a:t>
          </a:r>
          <a:r>
            <a:rPr kumimoji="0" lang="fr-FR" sz="2500" b="0" i="0" u="none" strike="noStrike" kern="1200" cap="none" normalizeH="0" baseline="0" dirty="0">
              <a:ln>
                <a:noFill/>
              </a:ln>
              <a:solidFill>
                <a:schemeClr val="tx1"/>
              </a:solidFill>
              <a:effectLst/>
              <a:latin typeface="Tahoma" pitchFamily="34" charset="0"/>
              <a:cs typeface="Arial" charset="0"/>
            </a:rPr>
            <a:t> </a:t>
          </a:r>
          <a:r>
            <a:rPr kumimoji="0" lang="fr-FR" sz="2500" b="0" i="0" u="none" strike="noStrike" kern="1200" cap="none" normalizeH="0" baseline="0" dirty="0" err="1">
              <a:ln>
                <a:noFill/>
              </a:ln>
              <a:solidFill>
                <a:schemeClr val="tx1"/>
              </a:solidFill>
              <a:effectLst/>
              <a:latin typeface="Tahoma" pitchFamily="34" charset="0"/>
              <a:cs typeface="Arial" charset="0"/>
            </a:rPr>
            <a:t>legitimacy</a:t>
          </a:r>
          <a:endParaRPr kumimoji="0" lang="fr-FR" sz="2500" b="0" i="0" u="none" strike="noStrike" kern="1200" cap="none" normalizeH="0" baseline="0" dirty="0">
            <a:ln>
              <a:noFill/>
            </a:ln>
            <a:solidFill>
              <a:schemeClr val="tx1"/>
            </a:solidFill>
            <a:effectLst/>
            <a:latin typeface="Tahoma" pitchFamily="34"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fr-FR" sz="2500" b="0" i="0" u="none" strike="noStrike" kern="1200" cap="none" normalizeH="0" baseline="0" dirty="0">
              <a:ln>
                <a:noFill/>
              </a:ln>
              <a:solidFill>
                <a:schemeClr val="tx1"/>
              </a:solidFill>
              <a:effectLst/>
              <a:latin typeface="Tahoma" pitchFamily="34" charset="0"/>
              <a:cs typeface="Arial" charset="0"/>
            </a:rPr>
            <a:t>OGN - Association</a:t>
          </a:r>
        </a:p>
      </dsp:txBody>
      <dsp:txXfrm>
        <a:off x="6046470" y="3305357"/>
        <a:ext cx="2193417" cy="2010632"/>
      </dsp:txXfrm>
    </dsp:sp>
    <dsp:sp modelId="{7FB7D770-8EE5-4961-94CC-915B74F5F9CB}">
      <dsp:nvSpPr>
        <dsp:cNvPr id="0" name=""/>
        <dsp:cNvSpPr/>
      </dsp:nvSpPr>
      <dsp:spPr>
        <a:xfrm>
          <a:off x="2290243" y="2360969"/>
          <a:ext cx="3655695" cy="3655695"/>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2500" b="0" i="0" u="none" strike="noStrike" kern="1200" cap="none" normalizeH="0" baseline="0" dirty="0">
              <a:ln>
                <a:noFill/>
              </a:ln>
              <a:solidFill>
                <a:schemeClr val="tx1"/>
              </a:solidFill>
              <a:effectLst/>
              <a:latin typeface="Tahoma" pitchFamily="34" charset="0"/>
              <a:cs typeface="Arial" charset="0"/>
            </a:rPr>
            <a:t>Financial</a:t>
          </a:r>
        </a:p>
        <a:p>
          <a:pPr marL="0" marR="0" lvl="0" indent="0" algn="ctr" defTabSz="914400" rtl="0" eaLnBrk="1" fontAlgn="base" latinLnBrk="0" hangingPunct="1">
            <a:lnSpc>
              <a:spcPct val="100000"/>
            </a:lnSpc>
            <a:spcBef>
              <a:spcPct val="0"/>
            </a:spcBef>
            <a:spcAft>
              <a:spcPct val="0"/>
            </a:spcAft>
            <a:buClrTx/>
            <a:buSzTx/>
            <a:buFontTx/>
            <a:buNone/>
            <a:tabLst/>
          </a:pPr>
          <a:r>
            <a:rPr kumimoji="0" lang="fr-FR" sz="2500" b="0" i="0" u="none" strike="noStrike" kern="1200" cap="none" normalizeH="0" baseline="0" dirty="0" err="1">
              <a:ln>
                <a:noFill/>
              </a:ln>
              <a:solidFill>
                <a:schemeClr val="tx1"/>
              </a:solidFill>
              <a:effectLst/>
              <a:latin typeface="Tahoma" pitchFamily="34" charset="0"/>
              <a:cs typeface="Arial" charset="0"/>
            </a:rPr>
            <a:t>Stakeholders</a:t>
          </a:r>
          <a:r>
            <a:rPr kumimoji="0" lang="fr-FR" sz="2500" b="0" i="0" u="none" strike="noStrike" kern="1200" cap="none" normalizeH="0" baseline="0" dirty="0">
              <a:ln>
                <a:noFill/>
              </a:ln>
              <a:solidFill>
                <a:schemeClr val="tx1"/>
              </a:solidFill>
              <a:effectLst/>
              <a:latin typeface="Tahoma" pitchFamily="34" charset="0"/>
              <a:cs typeface="Arial" charset="0"/>
            </a:rPr>
            <a:t> </a:t>
          </a:r>
          <a:r>
            <a:rPr kumimoji="0" lang="fr-FR" sz="2500" b="0" i="0" u="none" strike="noStrike" kern="1200" cap="none" normalizeH="0" baseline="0" dirty="0" err="1">
              <a:ln>
                <a:noFill/>
              </a:ln>
              <a:solidFill>
                <a:schemeClr val="tx1"/>
              </a:solidFill>
              <a:effectLst/>
              <a:latin typeface="Tahoma" pitchFamily="34" charset="0"/>
              <a:cs typeface="Arial" charset="0"/>
            </a:rPr>
            <a:t>Private</a:t>
          </a:r>
          <a:r>
            <a:rPr kumimoji="0" lang="fr-FR" sz="2500" b="0" i="0" u="none" strike="noStrike" kern="1200" cap="none" normalizeH="0" baseline="0" dirty="0">
              <a:ln>
                <a:noFill/>
              </a:ln>
              <a:solidFill>
                <a:schemeClr val="tx1"/>
              </a:solidFill>
              <a:effectLst/>
              <a:latin typeface="Tahoma" pitchFamily="34" charset="0"/>
              <a:cs typeface="Arial" charset="0"/>
            </a:rPr>
            <a:t> or </a:t>
          </a:r>
          <a:r>
            <a:rPr kumimoji="0" lang="fr-FR" sz="2500" b="0" i="0" u="none" strike="noStrike" kern="1200" cap="none" normalizeH="0" baseline="0" dirty="0" err="1">
              <a:ln>
                <a:noFill/>
              </a:ln>
              <a:solidFill>
                <a:schemeClr val="tx1"/>
              </a:solidFill>
              <a:effectLst/>
              <a:latin typeface="Tahoma" pitchFamily="34" charset="0"/>
              <a:cs typeface="Arial" charset="0"/>
            </a:rPr>
            <a:t>plublic</a:t>
          </a:r>
          <a:r>
            <a:rPr kumimoji="0" lang="fr-FR" sz="2500" b="0" i="0" u="none" strike="noStrike" kern="1200" cap="none" normalizeH="0" baseline="0" dirty="0">
              <a:ln>
                <a:noFill/>
              </a:ln>
              <a:solidFill>
                <a:schemeClr val="tx1"/>
              </a:solidFill>
              <a:effectLst/>
              <a:latin typeface="Tahoma" pitchFamily="34" charset="0"/>
              <a:cs typeface="Arial" charset="0"/>
            </a:rPr>
            <a:t> </a:t>
          </a:r>
          <a:r>
            <a:rPr kumimoji="0" lang="fr-FR" sz="2500" b="0" i="0" u="none" strike="noStrike" kern="1200" cap="none" normalizeH="0" baseline="0" dirty="0" err="1">
              <a:ln>
                <a:noFill/>
              </a:ln>
              <a:solidFill>
                <a:schemeClr val="tx1"/>
              </a:solidFill>
              <a:effectLst/>
              <a:latin typeface="Tahoma" pitchFamily="34" charset="0"/>
              <a:cs typeface="Arial" charset="0"/>
            </a:rPr>
            <a:t>organizations</a:t>
          </a:r>
          <a:endParaRPr kumimoji="0" lang="fr-FR" sz="2500" b="0" i="0" u="none" strike="noStrike" kern="1200" cap="none" normalizeH="0" baseline="0" dirty="0">
            <a:ln>
              <a:noFill/>
            </a:ln>
            <a:solidFill>
              <a:schemeClr val="tx1"/>
            </a:solidFill>
            <a:effectLst/>
            <a:latin typeface="Tahoma" pitchFamily="34" charset="0"/>
            <a:cs typeface="Arial" charset="0"/>
          </a:endParaRPr>
        </a:p>
      </dsp:txBody>
      <dsp:txXfrm>
        <a:off x="2634488" y="3305357"/>
        <a:ext cx="2193417" cy="201063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998B89-E503-4EE5-A47E-F5D1A6D5E742}">
      <dsp:nvSpPr>
        <dsp:cNvPr id="0" name=""/>
        <dsp:cNvSpPr/>
      </dsp:nvSpPr>
      <dsp:spPr>
        <a:xfrm>
          <a:off x="0" y="3569039"/>
          <a:ext cx="10515600" cy="780818"/>
        </a:xfrm>
        <a:prstGeom prst="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fr-FR" sz="1400" kern="1200"/>
            <a:t>ROI or ROO for :</a:t>
          </a:r>
          <a:endParaRPr lang="en-US" sz="1400" kern="1200"/>
        </a:p>
      </dsp:txBody>
      <dsp:txXfrm>
        <a:off x="0" y="3569039"/>
        <a:ext cx="10515600" cy="421642"/>
      </dsp:txXfrm>
    </dsp:sp>
    <dsp:sp modelId="{EB85C792-B6D5-4E29-BDD1-677CF71F8E79}">
      <dsp:nvSpPr>
        <dsp:cNvPr id="0" name=""/>
        <dsp:cNvSpPr/>
      </dsp:nvSpPr>
      <dsp:spPr>
        <a:xfrm>
          <a:off x="5134" y="3975065"/>
          <a:ext cx="3501776" cy="359176"/>
        </a:xfrm>
        <a:prstGeom prst="rect">
          <a:avLst/>
        </a:prstGeom>
        <a:solidFill>
          <a:schemeClr val="accent5">
            <a:alpha val="90000"/>
            <a:tint val="40000"/>
            <a:hueOff val="0"/>
            <a:satOff val="0"/>
            <a:lumOff val="0"/>
            <a:alphaOff val="0"/>
          </a:schemeClr>
        </a:solidFill>
        <a:ln w="12700" cap="flat" cmpd="sng" algn="ctr">
          <a:solidFill>
            <a:schemeClr val="accent5">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9352" tIns="26670" rIns="149352" bIns="26670" numCol="1" spcCol="1270" anchor="ctr" anchorCtr="0">
          <a:noAutofit/>
        </a:bodyPr>
        <a:lstStyle/>
        <a:p>
          <a:pPr marL="0" lvl="0" indent="0" algn="ctr" defTabSz="933450">
            <a:lnSpc>
              <a:spcPct val="90000"/>
            </a:lnSpc>
            <a:spcBef>
              <a:spcPct val="0"/>
            </a:spcBef>
            <a:spcAft>
              <a:spcPct val="35000"/>
            </a:spcAft>
            <a:buNone/>
          </a:pPr>
          <a:r>
            <a:rPr lang="fr-FR" sz="2100" kern="1200"/>
            <a:t>Sponsors</a:t>
          </a:r>
          <a:endParaRPr lang="en-US" sz="2100" kern="1200"/>
        </a:p>
      </dsp:txBody>
      <dsp:txXfrm>
        <a:off x="5134" y="3975065"/>
        <a:ext cx="3501776" cy="359176"/>
      </dsp:txXfrm>
    </dsp:sp>
    <dsp:sp modelId="{701CD357-8770-4FEC-A028-CF9B17AEA672}">
      <dsp:nvSpPr>
        <dsp:cNvPr id="0" name=""/>
        <dsp:cNvSpPr/>
      </dsp:nvSpPr>
      <dsp:spPr>
        <a:xfrm>
          <a:off x="3506911" y="3975065"/>
          <a:ext cx="3501776" cy="359176"/>
        </a:xfrm>
        <a:prstGeom prst="rect">
          <a:avLst/>
        </a:prstGeom>
        <a:solidFill>
          <a:schemeClr val="accent5">
            <a:alpha val="90000"/>
            <a:tint val="40000"/>
            <a:hueOff val="0"/>
            <a:satOff val="0"/>
            <a:lumOff val="0"/>
            <a:alphaOff val="0"/>
          </a:schemeClr>
        </a:solidFill>
        <a:ln w="12700" cap="flat" cmpd="sng" algn="ctr">
          <a:solidFill>
            <a:schemeClr val="accent5">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9352" tIns="26670" rIns="149352" bIns="26670" numCol="1" spcCol="1270" anchor="ctr" anchorCtr="0">
          <a:noAutofit/>
        </a:bodyPr>
        <a:lstStyle/>
        <a:p>
          <a:pPr marL="0" lvl="0" indent="0" algn="ctr" defTabSz="933450">
            <a:lnSpc>
              <a:spcPct val="90000"/>
            </a:lnSpc>
            <a:spcBef>
              <a:spcPct val="0"/>
            </a:spcBef>
            <a:spcAft>
              <a:spcPct val="35000"/>
            </a:spcAft>
            <a:buNone/>
          </a:pPr>
          <a:r>
            <a:rPr lang="fr-FR" sz="2100" kern="1200" dirty="0"/>
            <a:t>ONG</a:t>
          </a:r>
          <a:endParaRPr lang="en-US" sz="2100" kern="1200" dirty="0"/>
        </a:p>
      </dsp:txBody>
      <dsp:txXfrm>
        <a:off x="3506911" y="3975065"/>
        <a:ext cx="3501776" cy="359176"/>
      </dsp:txXfrm>
    </dsp:sp>
    <dsp:sp modelId="{A9E5E746-C11F-4C32-A866-0C787E912D7D}">
      <dsp:nvSpPr>
        <dsp:cNvPr id="0" name=""/>
        <dsp:cNvSpPr/>
      </dsp:nvSpPr>
      <dsp:spPr>
        <a:xfrm>
          <a:off x="7008688" y="3975065"/>
          <a:ext cx="3501776" cy="359176"/>
        </a:xfrm>
        <a:prstGeom prst="rect">
          <a:avLst/>
        </a:prstGeom>
        <a:solidFill>
          <a:schemeClr val="accent5">
            <a:alpha val="90000"/>
            <a:tint val="40000"/>
            <a:hueOff val="0"/>
            <a:satOff val="0"/>
            <a:lumOff val="0"/>
            <a:alphaOff val="0"/>
          </a:schemeClr>
        </a:solidFill>
        <a:ln w="12700" cap="flat" cmpd="sng" algn="ctr">
          <a:solidFill>
            <a:schemeClr val="accent5">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9352" tIns="26670" rIns="149352" bIns="26670" numCol="1" spcCol="1270" anchor="ctr" anchorCtr="0">
          <a:noAutofit/>
        </a:bodyPr>
        <a:lstStyle/>
        <a:p>
          <a:pPr marL="0" lvl="0" indent="0" algn="ctr" defTabSz="933450">
            <a:lnSpc>
              <a:spcPct val="90000"/>
            </a:lnSpc>
            <a:spcBef>
              <a:spcPct val="0"/>
            </a:spcBef>
            <a:spcAft>
              <a:spcPct val="35000"/>
            </a:spcAft>
            <a:buNone/>
          </a:pPr>
          <a:r>
            <a:rPr lang="fr-FR" sz="2100" kern="1200"/>
            <a:t>Event </a:t>
          </a:r>
          <a:endParaRPr lang="en-US" sz="2100" kern="1200"/>
        </a:p>
      </dsp:txBody>
      <dsp:txXfrm>
        <a:off x="7008688" y="3975065"/>
        <a:ext cx="3501776" cy="359176"/>
      </dsp:txXfrm>
    </dsp:sp>
    <dsp:sp modelId="{A672B001-DDED-4BDB-BC4E-75823D356D8A}">
      <dsp:nvSpPr>
        <dsp:cNvPr id="0" name=""/>
        <dsp:cNvSpPr/>
      </dsp:nvSpPr>
      <dsp:spPr>
        <a:xfrm rot="10800000">
          <a:off x="0" y="2379853"/>
          <a:ext cx="10515600" cy="1200899"/>
        </a:xfrm>
        <a:prstGeom prst="upArrowCallou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fr-FR" sz="1400" kern="1200"/>
            <a:t>Activation program</a:t>
          </a:r>
          <a:endParaRPr lang="en-US" sz="1400" kern="1200"/>
        </a:p>
      </dsp:txBody>
      <dsp:txXfrm rot="10800000">
        <a:off x="0" y="2379853"/>
        <a:ext cx="10515600" cy="780308"/>
      </dsp:txXfrm>
    </dsp:sp>
    <dsp:sp modelId="{BB4FD60F-E4F0-48CE-A014-6C6E980C0F87}">
      <dsp:nvSpPr>
        <dsp:cNvPr id="0" name=""/>
        <dsp:cNvSpPr/>
      </dsp:nvSpPr>
      <dsp:spPr>
        <a:xfrm rot="10800000">
          <a:off x="0" y="1190666"/>
          <a:ext cx="10515600" cy="1200899"/>
        </a:xfrm>
        <a:prstGeom prst="upArrowCallou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fr-FR" sz="1400" kern="1200"/>
            <a:t>Legitimacy with your OGN or association</a:t>
          </a:r>
          <a:endParaRPr lang="en-US" sz="1400" kern="1200"/>
        </a:p>
      </dsp:txBody>
      <dsp:txXfrm rot="10800000">
        <a:off x="0" y="1190666"/>
        <a:ext cx="10515600" cy="780308"/>
      </dsp:txXfrm>
    </dsp:sp>
    <dsp:sp modelId="{D615E28C-F603-470A-BD3D-3A1F17ACE3EC}">
      <dsp:nvSpPr>
        <dsp:cNvPr id="0" name=""/>
        <dsp:cNvSpPr/>
      </dsp:nvSpPr>
      <dsp:spPr>
        <a:xfrm rot="10800000">
          <a:off x="0" y="1479"/>
          <a:ext cx="10515600" cy="1200899"/>
        </a:xfrm>
        <a:prstGeom prst="upArrowCallou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fr-FR" sz="1400" kern="1200" dirty="0"/>
            <a:t>Cause identification : local aspects, fit </a:t>
          </a:r>
          <a:r>
            <a:rPr lang="fr-FR" sz="1400" kern="1200" dirty="0" err="1"/>
            <a:t>with</a:t>
          </a:r>
          <a:r>
            <a:rPr lang="fr-FR" sz="1400" kern="1200" dirty="0"/>
            <a:t> </a:t>
          </a:r>
          <a:r>
            <a:rPr lang="fr-FR" sz="1400" kern="1200" dirty="0" err="1"/>
            <a:t>your</a:t>
          </a:r>
          <a:r>
            <a:rPr lang="fr-FR" sz="1400" kern="1200" dirty="0"/>
            <a:t> main sponsors or </a:t>
          </a:r>
          <a:r>
            <a:rPr lang="fr-FR" sz="1400" kern="1200" dirty="0" err="1"/>
            <a:t>cities</a:t>
          </a:r>
          <a:r>
            <a:rPr lang="fr-FR" sz="1400" kern="1200" dirty="0"/>
            <a:t>…</a:t>
          </a:r>
          <a:endParaRPr lang="en-US" sz="1400" kern="1200" dirty="0"/>
        </a:p>
      </dsp:txBody>
      <dsp:txXfrm rot="10800000">
        <a:off x="0" y="1479"/>
        <a:ext cx="10515600" cy="78030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C90123-5FA3-4A58-8341-CFFA540C9873}">
      <dsp:nvSpPr>
        <dsp:cNvPr id="0" name=""/>
        <dsp:cNvSpPr/>
      </dsp:nvSpPr>
      <dsp:spPr>
        <a:xfrm>
          <a:off x="0" y="1401"/>
          <a:ext cx="5314543" cy="71013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03E0844-E694-4E0D-BF7C-7013ACB12786}">
      <dsp:nvSpPr>
        <dsp:cNvPr id="0" name=""/>
        <dsp:cNvSpPr/>
      </dsp:nvSpPr>
      <dsp:spPr>
        <a:xfrm>
          <a:off x="214814" y="161180"/>
          <a:ext cx="390571" cy="39057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1BCDA5B-E40D-4C13-ADFD-5AF8E619BDD2}">
      <dsp:nvSpPr>
        <dsp:cNvPr id="0" name=""/>
        <dsp:cNvSpPr/>
      </dsp:nvSpPr>
      <dsp:spPr>
        <a:xfrm>
          <a:off x="820200" y="1401"/>
          <a:ext cx="4494342" cy="710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5155" tIns="75155" rIns="75155" bIns="75155" numCol="1" spcCol="1270" anchor="ctr" anchorCtr="0">
          <a:noAutofit/>
        </a:bodyPr>
        <a:lstStyle/>
        <a:p>
          <a:pPr marL="0" lvl="0" indent="0" algn="l" defTabSz="666750">
            <a:lnSpc>
              <a:spcPct val="100000"/>
            </a:lnSpc>
            <a:spcBef>
              <a:spcPct val="0"/>
            </a:spcBef>
            <a:spcAft>
              <a:spcPct val="35000"/>
            </a:spcAft>
            <a:buNone/>
          </a:pPr>
          <a:r>
            <a:rPr lang="fr-FR" sz="1500" b="1" kern="1200"/>
            <a:t>Corporate Social Responsability and Cause marketing</a:t>
          </a:r>
          <a:endParaRPr lang="en-US" sz="1500" kern="1200"/>
        </a:p>
      </dsp:txBody>
      <dsp:txXfrm>
        <a:off x="820200" y="1401"/>
        <a:ext cx="4494342" cy="710130"/>
      </dsp:txXfrm>
    </dsp:sp>
    <dsp:sp modelId="{DFEC6B6F-5715-471C-A92F-3C03F9D21430}">
      <dsp:nvSpPr>
        <dsp:cNvPr id="0" name=""/>
        <dsp:cNvSpPr/>
      </dsp:nvSpPr>
      <dsp:spPr>
        <a:xfrm>
          <a:off x="0" y="889063"/>
          <a:ext cx="5314543" cy="71013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2AEF202-200F-48F3-A783-F4C48C8A8BE0}">
      <dsp:nvSpPr>
        <dsp:cNvPr id="0" name=""/>
        <dsp:cNvSpPr/>
      </dsp:nvSpPr>
      <dsp:spPr>
        <a:xfrm>
          <a:off x="214814" y="1048842"/>
          <a:ext cx="390571" cy="39057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30F071A-65B0-4468-B7B0-C42A23F8DEB0}">
      <dsp:nvSpPr>
        <dsp:cNvPr id="0" name=""/>
        <dsp:cNvSpPr/>
      </dsp:nvSpPr>
      <dsp:spPr>
        <a:xfrm>
          <a:off x="820200" y="889063"/>
          <a:ext cx="4494342" cy="710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5155" tIns="75155" rIns="75155" bIns="75155" numCol="1" spcCol="1270" anchor="ctr" anchorCtr="0">
          <a:noAutofit/>
        </a:bodyPr>
        <a:lstStyle/>
        <a:p>
          <a:pPr marL="0" lvl="0" indent="0" algn="l" defTabSz="666750">
            <a:lnSpc>
              <a:spcPct val="100000"/>
            </a:lnSpc>
            <a:spcBef>
              <a:spcPct val="0"/>
            </a:spcBef>
            <a:spcAft>
              <a:spcPct val="35000"/>
            </a:spcAft>
            <a:buNone/>
          </a:pPr>
          <a:r>
            <a:rPr lang="fr-FR" sz="1500" b="1" kern="1200"/>
            <a:t>Cross businesses (not easy…) using public – private networks… </a:t>
          </a:r>
          <a:endParaRPr lang="en-US" sz="1500" kern="1200"/>
        </a:p>
      </dsp:txBody>
      <dsp:txXfrm>
        <a:off x="820200" y="889063"/>
        <a:ext cx="4494342" cy="710130"/>
      </dsp:txXfrm>
    </dsp:sp>
    <dsp:sp modelId="{043E5674-A2BA-4D8E-B14B-8C5E614A4055}">
      <dsp:nvSpPr>
        <dsp:cNvPr id="0" name=""/>
        <dsp:cNvSpPr/>
      </dsp:nvSpPr>
      <dsp:spPr>
        <a:xfrm>
          <a:off x="0" y="1776726"/>
          <a:ext cx="5314543" cy="71013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5872D70-58C4-46A8-BD73-3F9C7A6232A8}">
      <dsp:nvSpPr>
        <dsp:cNvPr id="0" name=""/>
        <dsp:cNvSpPr/>
      </dsp:nvSpPr>
      <dsp:spPr>
        <a:xfrm>
          <a:off x="214814" y="1936505"/>
          <a:ext cx="390571" cy="39057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2D7AACB-03D1-43BA-982D-435D4E91BE56}">
      <dsp:nvSpPr>
        <dsp:cNvPr id="0" name=""/>
        <dsp:cNvSpPr/>
      </dsp:nvSpPr>
      <dsp:spPr>
        <a:xfrm>
          <a:off x="820200" y="1776726"/>
          <a:ext cx="4494342" cy="710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5155" tIns="75155" rIns="75155" bIns="75155" numCol="1" spcCol="1270" anchor="ctr" anchorCtr="0">
          <a:noAutofit/>
        </a:bodyPr>
        <a:lstStyle/>
        <a:p>
          <a:pPr marL="0" lvl="0" indent="0" algn="l" defTabSz="666750">
            <a:lnSpc>
              <a:spcPct val="100000"/>
            </a:lnSpc>
            <a:spcBef>
              <a:spcPct val="0"/>
            </a:spcBef>
            <a:spcAft>
              <a:spcPct val="35000"/>
            </a:spcAft>
            <a:buNone/>
          </a:pPr>
          <a:r>
            <a:rPr lang="fr-FR" sz="1500" b="1" kern="1200"/>
            <a:t>Danger : impossible to put the offer or attractiveness on your website or business presentations…</a:t>
          </a:r>
          <a:endParaRPr lang="en-US" sz="1500" kern="1200"/>
        </a:p>
      </dsp:txBody>
      <dsp:txXfrm>
        <a:off x="820200" y="1776726"/>
        <a:ext cx="4494342" cy="710130"/>
      </dsp:txXfrm>
    </dsp:sp>
    <dsp:sp modelId="{2321629F-666A-4A64-A807-1D5EAB3AAD3D}">
      <dsp:nvSpPr>
        <dsp:cNvPr id="0" name=""/>
        <dsp:cNvSpPr/>
      </dsp:nvSpPr>
      <dsp:spPr>
        <a:xfrm>
          <a:off x="0" y="2664388"/>
          <a:ext cx="5314543" cy="71013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2238ED9-BEA7-48AA-84DE-AB87E7887F33}">
      <dsp:nvSpPr>
        <dsp:cNvPr id="0" name=""/>
        <dsp:cNvSpPr/>
      </dsp:nvSpPr>
      <dsp:spPr>
        <a:xfrm>
          <a:off x="214814" y="2824168"/>
          <a:ext cx="390571" cy="39057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2C9D9E3-D65A-4B65-8388-BBBE021CE9D5}">
      <dsp:nvSpPr>
        <dsp:cNvPr id="0" name=""/>
        <dsp:cNvSpPr/>
      </dsp:nvSpPr>
      <dsp:spPr>
        <a:xfrm>
          <a:off x="820200" y="2664388"/>
          <a:ext cx="4494342" cy="710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5155" tIns="75155" rIns="75155" bIns="75155" numCol="1" spcCol="1270" anchor="ctr" anchorCtr="0">
          <a:noAutofit/>
        </a:bodyPr>
        <a:lstStyle/>
        <a:p>
          <a:pPr marL="0" lvl="0" indent="0" algn="l" defTabSz="666750">
            <a:lnSpc>
              <a:spcPct val="100000"/>
            </a:lnSpc>
            <a:spcBef>
              <a:spcPct val="0"/>
            </a:spcBef>
            <a:spcAft>
              <a:spcPct val="35000"/>
            </a:spcAft>
            <a:buNone/>
          </a:pPr>
          <a:r>
            <a:rPr lang="fr-FR" sz="1500" b="1" kern="1200" dirty="0"/>
            <a:t>Destination marketing : public </a:t>
          </a:r>
          <a:r>
            <a:rPr lang="fr-FR" sz="1500" b="1" kern="1200" dirty="0" err="1"/>
            <a:t>sponsorship</a:t>
          </a:r>
          <a:r>
            <a:rPr lang="fr-FR" sz="1500" b="1" kern="1200" dirty="0"/>
            <a:t> </a:t>
          </a:r>
          <a:r>
            <a:rPr lang="fr-FR" sz="1500" b="1" kern="1200" dirty="0" err="1"/>
            <a:t>strategy</a:t>
          </a:r>
          <a:r>
            <a:rPr lang="fr-FR" sz="1500" b="1" kern="1200" dirty="0"/>
            <a:t> </a:t>
          </a:r>
          <a:endParaRPr lang="en-US" sz="1500" kern="1200" dirty="0"/>
        </a:p>
      </dsp:txBody>
      <dsp:txXfrm>
        <a:off x="820200" y="2664388"/>
        <a:ext cx="4494342" cy="710130"/>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52F8182-8371-4AFA-AF7A-2914D1D7087E}" type="datetimeFigureOut">
              <a:rPr lang="fr-FR" smtClean="0"/>
              <a:t>29/08/2023</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0ADF63E-2008-45CD-9F9C-C703FDB9E31F}" type="slidenum">
              <a:rPr lang="fr-FR" smtClean="0"/>
              <a:t>‹N°›</a:t>
            </a:fld>
            <a:endParaRPr lang="fr-FR"/>
          </a:p>
        </p:txBody>
      </p:sp>
    </p:spTree>
    <p:extLst>
      <p:ext uri="{BB962C8B-B14F-4D97-AF65-F5344CB8AC3E}">
        <p14:creationId xmlns:p14="http://schemas.microsoft.com/office/powerpoint/2010/main" val="24529035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pPr marL="285750" lvl="0" indent="-285750">
              <a:buFont typeface="Arial" panose="020B0604020202020204" pitchFamily="34" charset="0"/>
              <a:buChar char="•"/>
            </a:pPr>
            <a:r>
              <a:rPr lang="en-US" sz="1500" b="0" noProof="0" dirty="0">
                <a:sym typeface="Wingdings" panose="05000000000000000000" pitchFamily="2" charset="2"/>
              </a:rPr>
              <a:t>The</a:t>
            </a:r>
            <a:r>
              <a:rPr lang="en-US" sz="1500" b="0" baseline="0" noProof="0" dirty="0">
                <a:sym typeface="Wingdings" panose="05000000000000000000" pitchFamily="2" charset="2"/>
              </a:rPr>
              <a:t> answer is clearly </a:t>
            </a:r>
            <a:r>
              <a:rPr lang="en-US" sz="1500" b="1" baseline="0" noProof="0" dirty="0">
                <a:sym typeface="Wingdings" panose="05000000000000000000" pitchFamily="2" charset="2"/>
              </a:rPr>
              <a:t>NO-</a:t>
            </a:r>
            <a:r>
              <a:rPr lang="en-US" sz="1500" b="0" baseline="0" noProof="0" dirty="0">
                <a:sym typeface="Wingdings" panose="05000000000000000000" pitchFamily="2" charset="2"/>
              </a:rPr>
              <a:t> </a:t>
            </a:r>
            <a:r>
              <a:rPr lang="en-US" sz="1500" b="1" baseline="0" noProof="0" dirty="0">
                <a:sym typeface="Wingdings" panose="05000000000000000000" pitchFamily="2" charset="2"/>
              </a:rPr>
              <a:t>it is not only about the channel</a:t>
            </a:r>
          </a:p>
          <a:p>
            <a:pPr marL="285750" lvl="0" indent="-285750">
              <a:buFont typeface="Arial" panose="020B0604020202020204" pitchFamily="34" charset="0"/>
              <a:buChar char="•"/>
            </a:pPr>
            <a:r>
              <a:rPr lang="en-US" sz="1500" b="0" baseline="0" noProof="0" dirty="0">
                <a:sym typeface="Wingdings" panose="05000000000000000000" pitchFamily="2" charset="2"/>
              </a:rPr>
              <a:t>What you see here is </a:t>
            </a:r>
            <a:r>
              <a:rPr lang="en-US" sz="1500" b="1" baseline="0" noProof="0" dirty="0">
                <a:sym typeface="Wingdings" panose="05000000000000000000" pitchFamily="2" charset="2"/>
              </a:rPr>
              <a:t>sports viewership on online screens</a:t>
            </a:r>
            <a:r>
              <a:rPr lang="en-US" sz="1500" b="0" baseline="0" noProof="0" dirty="0">
                <a:sym typeface="Wingdings" panose="05000000000000000000" pitchFamily="2" charset="2"/>
              </a:rPr>
              <a:t>, split by type of content and age</a:t>
            </a:r>
          </a:p>
          <a:p>
            <a:pPr marL="742950" lvl="1" indent="-285750">
              <a:buFont typeface="Arial" panose="020B0604020202020204" pitchFamily="34" charset="0"/>
              <a:buChar char="•"/>
            </a:pPr>
            <a:r>
              <a:rPr lang="en-US" sz="1500" b="1" baseline="0" noProof="0" dirty="0">
                <a:sym typeface="Wingdings" panose="05000000000000000000" pitchFamily="2" charset="2"/>
              </a:rPr>
              <a:t>Good news</a:t>
            </a:r>
            <a:r>
              <a:rPr lang="en-US" sz="1500" b="0" baseline="0" noProof="0" dirty="0">
                <a:sym typeface="Wingdings" panose="05000000000000000000" pitchFamily="2" charset="2"/>
              </a:rPr>
              <a:t>: live is </a:t>
            </a:r>
            <a:r>
              <a:rPr lang="en-US" sz="1500" b="1" baseline="0" noProof="0" dirty="0">
                <a:sym typeface="Wingdings" panose="05000000000000000000" pitchFamily="2" charset="2"/>
              </a:rPr>
              <a:t>still relevant </a:t>
            </a:r>
            <a:r>
              <a:rPr lang="en-US" sz="1500" b="0" baseline="0" noProof="0" dirty="0">
                <a:sym typeface="Wingdings" panose="05000000000000000000" pitchFamily="2" charset="2"/>
              </a:rPr>
              <a:t>! 90% of 16-20 watch live sports on online screens !</a:t>
            </a:r>
          </a:p>
          <a:p>
            <a:pPr marL="742950" lvl="1" indent="-285750">
              <a:buFont typeface="Arial" panose="020B0604020202020204" pitchFamily="34" charset="0"/>
              <a:buChar char="•"/>
            </a:pPr>
            <a:r>
              <a:rPr lang="en-US" sz="1500" b="1" baseline="0" noProof="0" dirty="0">
                <a:sym typeface="Wingdings" panose="05000000000000000000" pitchFamily="2" charset="2"/>
              </a:rPr>
              <a:t>64% of 50+ also do so</a:t>
            </a:r>
            <a:r>
              <a:rPr lang="en-US" sz="1500" b="0" baseline="0" noProof="0" dirty="0">
                <a:sym typeface="Wingdings" panose="05000000000000000000" pitchFamily="2" charset="2"/>
              </a:rPr>
              <a:t>… which sounds like all positive: </a:t>
            </a:r>
            <a:r>
              <a:rPr lang="en-US" sz="1500" b="1" baseline="0" noProof="0" dirty="0">
                <a:sym typeface="Wingdings" panose="05000000000000000000" pitchFamily="2" charset="2"/>
              </a:rPr>
              <a:t>even older generation is changing</a:t>
            </a:r>
          </a:p>
          <a:p>
            <a:pPr marL="742950" lvl="1" indent="-285750">
              <a:buFont typeface="Arial" panose="020B0604020202020204" pitchFamily="34" charset="0"/>
              <a:buChar char="•"/>
            </a:pPr>
            <a:r>
              <a:rPr lang="en-US" sz="1500" b="1" u="sng" baseline="0" noProof="0" dirty="0">
                <a:sym typeface="Wingdings" panose="05000000000000000000" pitchFamily="2" charset="2"/>
              </a:rPr>
              <a:t>BUT HOLD ON</a:t>
            </a:r>
            <a:r>
              <a:rPr lang="en-US" sz="1500" b="0" baseline="0" noProof="0" dirty="0">
                <a:sym typeface="Wingdings" panose="05000000000000000000" pitchFamily="2" charset="2"/>
              </a:rPr>
              <a:t>: When you look at </a:t>
            </a:r>
            <a:r>
              <a:rPr lang="en-US" sz="1500" b="1" baseline="0" noProof="0" dirty="0">
                <a:sym typeface="Wingdings" panose="05000000000000000000" pitchFamily="2" charset="2"/>
              </a:rPr>
              <a:t>non-live</a:t>
            </a:r>
            <a:r>
              <a:rPr lang="en-US" sz="1500" b="0" baseline="0" noProof="0" dirty="0">
                <a:sym typeface="Wingdings" panose="05000000000000000000" pitchFamily="2" charset="2"/>
              </a:rPr>
              <a:t>, the message comes with a TWIST…</a:t>
            </a:r>
          </a:p>
          <a:p>
            <a:pPr marL="1200150" lvl="2" indent="-285750">
              <a:buFont typeface="Arial" panose="020B0604020202020204" pitchFamily="34" charset="0"/>
              <a:buChar char="•"/>
            </a:pPr>
            <a:r>
              <a:rPr lang="en-US" sz="1500" b="0" baseline="0" noProof="0" dirty="0">
                <a:sym typeface="Wingdings" panose="05000000000000000000" pitchFamily="2" charset="2"/>
              </a:rPr>
              <a:t>50+ don’t really watch non-live on online… seems they </a:t>
            </a:r>
            <a:r>
              <a:rPr lang="en-US" sz="1500" b="1" baseline="0" noProof="0" dirty="0">
                <a:sym typeface="Wingdings" panose="05000000000000000000" pitchFamily="2" charset="2"/>
              </a:rPr>
              <a:t>replicate online </a:t>
            </a:r>
            <a:r>
              <a:rPr lang="en-US" sz="1500" b="0" baseline="0" noProof="0" dirty="0">
                <a:sym typeface="Wingdings" panose="05000000000000000000" pitchFamily="2" charset="2"/>
              </a:rPr>
              <a:t>what they used to do on traditional TV: tune-in, watch, then tune out after 90mins</a:t>
            </a:r>
          </a:p>
          <a:p>
            <a:pPr marL="1200150" lvl="2" indent="-285750">
              <a:buFont typeface="Arial" panose="020B0604020202020204" pitchFamily="34" charset="0"/>
              <a:buChar char="•"/>
            </a:pPr>
            <a:r>
              <a:rPr lang="en-US" sz="1500" b="1" baseline="0" noProof="0" dirty="0">
                <a:sym typeface="Wingdings" panose="05000000000000000000" pitchFamily="2" charset="2"/>
              </a:rPr>
              <a:t>&lt;20 is different</a:t>
            </a:r>
            <a:r>
              <a:rPr lang="en-US" sz="1500" b="0" baseline="0" noProof="0" dirty="0">
                <a:sym typeface="Wingdings" panose="05000000000000000000" pitchFamily="2" charset="2"/>
              </a:rPr>
              <a:t>: they tune in to watch live, but still consume a ton of non-live sports… </a:t>
            </a:r>
            <a:r>
              <a:rPr lang="en-US" sz="1500" b="1" baseline="0" noProof="0" dirty="0">
                <a:sym typeface="Wingdings" panose="05000000000000000000" pitchFamily="2" charset="2"/>
              </a:rPr>
              <a:t>what does this tell us?</a:t>
            </a:r>
          </a:p>
          <a:p>
            <a:pPr marL="1657350" lvl="3" indent="-285750">
              <a:buFont typeface="Arial" panose="020B0604020202020204" pitchFamily="34" charset="0"/>
              <a:buChar char="•"/>
            </a:pPr>
            <a:r>
              <a:rPr lang="en-US" sz="1500" b="0" baseline="0" noProof="0" dirty="0">
                <a:sym typeface="Wingdings" panose="05000000000000000000" pitchFamily="2" charset="2"/>
              </a:rPr>
              <a:t>1. there is as </a:t>
            </a:r>
            <a:r>
              <a:rPr lang="en-US" sz="1500" b="1" baseline="0" noProof="0" dirty="0">
                <a:sym typeface="Wingdings" panose="05000000000000000000" pitchFamily="2" charset="2"/>
              </a:rPr>
              <a:t>much media </a:t>
            </a:r>
            <a:r>
              <a:rPr lang="en-US" sz="1500" b="0" baseline="0" noProof="0" dirty="0">
                <a:sym typeface="Wingdings" panose="05000000000000000000" pitchFamily="2" charset="2"/>
              </a:rPr>
              <a:t>value in live as there is in non-live sports (at a minimum)</a:t>
            </a:r>
          </a:p>
          <a:p>
            <a:pPr marL="1657350" lvl="3" indent="-285750">
              <a:buFont typeface="Arial" panose="020B0604020202020204" pitchFamily="34" charset="0"/>
              <a:buChar char="•"/>
            </a:pPr>
            <a:r>
              <a:rPr lang="en-US" sz="1500" b="0" baseline="0" noProof="0" dirty="0">
                <a:sym typeface="Wingdings" panose="05000000000000000000" pitchFamily="2" charset="2"/>
              </a:rPr>
              <a:t>2. </a:t>
            </a:r>
            <a:r>
              <a:rPr lang="en-US" sz="1500" b="1" baseline="0" noProof="0" dirty="0">
                <a:sym typeface="Wingdings" panose="05000000000000000000" pitchFamily="2" charset="2"/>
              </a:rPr>
              <a:t>HOWEVER</a:t>
            </a:r>
            <a:r>
              <a:rPr lang="en-US" sz="1500" b="0" baseline="0" noProof="0" dirty="0">
                <a:sym typeface="Wingdings" panose="05000000000000000000" pitchFamily="2" charset="2"/>
              </a:rPr>
              <a:t>, </a:t>
            </a:r>
            <a:r>
              <a:rPr lang="en-US" sz="1500" b="1" baseline="0" noProof="0" dirty="0">
                <a:sym typeface="Wingdings" panose="05000000000000000000" pitchFamily="2" charset="2"/>
              </a:rPr>
              <a:t>younger generation do not consume with the same degree of concentration</a:t>
            </a:r>
            <a:r>
              <a:rPr lang="en-US" sz="1500" b="0" baseline="0" noProof="0" dirty="0">
                <a:sym typeface="Wingdings" panose="05000000000000000000" pitchFamily="2" charset="2"/>
              </a:rPr>
              <a:t>, hence their need for non-live…</a:t>
            </a:r>
          </a:p>
          <a:p>
            <a:pPr marL="2114550" lvl="4" indent="-285750">
              <a:buFont typeface="Arial" panose="020B0604020202020204" pitchFamily="34" charset="0"/>
              <a:buChar char="•"/>
            </a:pPr>
            <a:r>
              <a:rPr lang="en-US" sz="1600" b="0" kern="1200" noProof="0" dirty="0">
                <a:solidFill>
                  <a:schemeClr val="tx1"/>
                </a:solidFill>
                <a:effectLst/>
                <a:latin typeface="+mn-lt"/>
                <a:ea typeface="+mn-ea"/>
                <a:cs typeface="+mn-cs"/>
              </a:rPr>
              <a:t>As reminder.</a:t>
            </a:r>
          </a:p>
          <a:p>
            <a:pPr marL="2571750" lvl="5" indent="-285750">
              <a:buFont typeface="Arial" panose="020B0604020202020204" pitchFamily="34" charset="0"/>
              <a:buChar char="•"/>
            </a:pPr>
            <a:r>
              <a:rPr lang="en-US" sz="1600" b="0" kern="1200" noProof="0" dirty="0">
                <a:solidFill>
                  <a:schemeClr val="tx1"/>
                </a:solidFill>
                <a:effectLst/>
                <a:latin typeface="+mn-lt"/>
                <a:ea typeface="+mn-ea"/>
                <a:cs typeface="+mn-cs"/>
              </a:rPr>
              <a:t>74% of 2</a:t>
            </a:r>
            <a:r>
              <a:rPr lang="en-US" sz="1600" b="0" kern="1200" baseline="30000" noProof="0" dirty="0">
                <a:solidFill>
                  <a:schemeClr val="tx1"/>
                </a:solidFill>
                <a:effectLst/>
                <a:latin typeface="+mn-lt"/>
                <a:ea typeface="+mn-ea"/>
                <a:cs typeface="+mn-cs"/>
              </a:rPr>
              <a:t>nd</a:t>
            </a:r>
            <a:r>
              <a:rPr lang="en-US" sz="1600" b="0" kern="1200" noProof="0" dirty="0">
                <a:solidFill>
                  <a:schemeClr val="tx1"/>
                </a:solidFill>
                <a:effectLst/>
                <a:latin typeface="+mn-lt"/>
                <a:ea typeface="+mn-ea"/>
                <a:cs typeface="+mn-cs"/>
              </a:rPr>
              <a:t> screen content they is unrelated to what they are watching on TV</a:t>
            </a:r>
          </a:p>
          <a:p>
            <a:pPr marL="2571750" lvl="5" indent="-285750">
              <a:buFont typeface="Arial" panose="020B0604020202020204" pitchFamily="34" charset="0"/>
              <a:buChar char="•"/>
            </a:pPr>
            <a:r>
              <a:rPr lang="en-US" sz="1600" b="0" kern="1200" baseline="0" noProof="0" dirty="0">
                <a:solidFill>
                  <a:schemeClr val="tx1"/>
                </a:solidFill>
                <a:effectLst/>
                <a:latin typeface="+mn-lt"/>
                <a:ea typeface="+mn-ea"/>
                <a:cs typeface="+mn-cs"/>
                <a:sym typeface="Wingdings" panose="05000000000000000000" pitchFamily="2" charset="2"/>
              </a:rPr>
              <a:t>So, during half-time or any boring moment of the match, they will tune out…</a:t>
            </a:r>
            <a:endParaRPr lang="en-US" sz="1500" b="0" baseline="0" noProof="0" dirty="0">
              <a:sym typeface="Wingdings" panose="05000000000000000000" pitchFamily="2" charset="2"/>
            </a:endParaRPr>
          </a:p>
          <a:p>
            <a:pPr marL="2114550" lvl="4" indent="-285750">
              <a:buFont typeface="Arial" panose="020B0604020202020204" pitchFamily="34" charset="0"/>
              <a:buChar char="•"/>
            </a:pPr>
            <a:endParaRPr lang="en-US" sz="1500" b="0" baseline="0" noProof="0" dirty="0">
              <a:sym typeface="Wingdings" panose="05000000000000000000" pitchFamily="2" charset="2"/>
            </a:endParaRPr>
          </a:p>
          <a:p>
            <a:pPr marL="285750" lvl="0" indent="-285750">
              <a:buFont typeface="Arial" panose="020B0604020202020204" pitchFamily="34" charset="0"/>
              <a:buChar char="•"/>
            </a:pPr>
            <a:r>
              <a:rPr lang="en-US" sz="1600" b="0" noProof="0" dirty="0"/>
              <a:t>What</a:t>
            </a:r>
            <a:r>
              <a:rPr lang="en-US" sz="1600" b="0" baseline="0" noProof="0" dirty="0"/>
              <a:t> des this tell us? </a:t>
            </a:r>
          </a:p>
          <a:p>
            <a:pPr marL="285750" lvl="0" indent="-285750">
              <a:buFont typeface="Arial" panose="020B0604020202020204" pitchFamily="34" charset="0"/>
              <a:buChar char="•"/>
            </a:pPr>
            <a:r>
              <a:rPr lang="en-US" sz="1600" b="0" noProof="0" dirty="0"/>
              <a:t>If you </a:t>
            </a:r>
            <a:r>
              <a:rPr lang="en-US" sz="1600" b="0" noProof="0" dirty="0" err="1"/>
              <a:t>wanna</a:t>
            </a:r>
            <a:r>
              <a:rPr lang="en-US" sz="1600" b="0" noProof="0" dirty="0"/>
              <a:t> be a </a:t>
            </a:r>
            <a:r>
              <a:rPr lang="en-US" sz="1600" b="1" noProof="0" dirty="0"/>
              <a:t>winner</a:t>
            </a:r>
            <a:r>
              <a:rPr lang="en-US" sz="1600" b="0" noProof="0" dirty="0"/>
              <a:t> in the race for </a:t>
            </a:r>
            <a:r>
              <a:rPr lang="en-US" sz="1600" b="1" noProof="0" dirty="0"/>
              <a:t>live spectators</a:t>
            </a:r>
            <a:endParaRPr lang="en-US" sz="1600" b="0" noProof="0" dirty="0"/>
          </a:p>
          <a:p>
            <a:pPr marL="742950" lvl="1" indent="-285750">
              <a:buFont typeface="Arial" panose="020B0604020202020204" pitchFamily="34" charset="0"/>
              <a:buChar char="•"/>
            </a:pPr>
            <a:r>
              <a:rPr lang="en-US" sz="1600" b="0" noProof="0" dirty="0"/>
              <a:t>innovate on and off the pitch</a:t>
            </a:r>
          </a:p>
          <a:p>
            <a:pPr marL="742950" lvl="1" indent="-285750">
              <a:buFont typeface="Arial" panose="020B0604020202020204" pitchFamily="34" charset="0"/>
              <a:buChar char="•"/>
            </a:pPr>
            <a:r>
              <a:rPr lang="en-US" sz="1600" b="0" noProof="0" dirty="0"/>
              <a:t>integrate the variety and </a:t>
            </a:r>
            <a:r>
              <a:rPr lang="en-US" sz="1600" b="0" noProof="0" dirty="0" err="1"/>
              <a:t>personalisation</a:t>
            </a:r>
            <a:r>
              <a:rPr lang="en-US" sz="1600" b="0" noProof="0" dirty="0"/>
              <a:t> of on-demand within a context of live consumption, all while </a:t>
            </a:r>
          </a:p>
          <a:p>
            <a:pPr marL="742950" lvl="1" indent="-285750">
              <a:buFont typeface="Arial" panose="020B0604020202020204" pitchFamily="34" charset="0"/>
              <a:buChar char="•"/>
            </a:pPr>
            <a:r>
              <a:rPr lang="en-US" sz="1600" b="0" noProof="0" dirty="0"/>
              <a:t>ensuring a seamless transition into the conversations taking place on social media</a:t>
            </a:r>
          </a:p>
          <a:p>
            <a:pPr marL="120650" lvl="0" indent="-342900">
              <a:buFontTx/>
              <a:buChar char="-"/>
            </a:pPr>
            <a:endParaRPr lang="en-US" sz="2000" b="0" noProof="0" dirty="0">
              <a:sym typeface="Wingdings" panose="05000000000000000000" pitchFamily="2" charset="2"/>
            </a:endParaRPr>
          </a:p>
          <a:p>
            <a:pPr marL="0" lvl="0" indent="0">
              <a:buFont typeface="Arial" panose="020B0604020202020204" pitchFamily="34" charset="0"/>
              <a:buNone/>
            </a:pPr>
            <a:endParaRPr lang="en-US" sz="1500" b="0" baseline="0" noProof="0" dirty="0">
              <a:sym typeface="Wingdings" panose="05000000000000000000" pitchFamily="2" charset="2"/>
            </a:endParaRPr>
          </a:p>
          <a:p>
            <a:pPr marL="0" lvl="0" indent="0">
              <a:buFont typeface="Arial" panose="020B0604020202020204" pitchFamily="34" charset="0"/>
              <a:buNone/>
            </a:pPr>
            <a:endParaRPr lang="en-US" sz="1500" b="0" noProof="0" dirty="0">
              <a:sym typeface="Wingdings" panose="05000000000000000000" pitchFamily="2" charset="2"/>
            </a:endParaRPr>
          </a:p>
          <a:p>
            <a:pPr marL="0" lvl="0" indent="0">
              <a:buFont typeface="Arial" panose="020B0604020202020204" pitchFamily="34" charset="0"/>
              <a:buNone/>
            </a:pPr>
            <a:endParaRPr lang="en-US" sz="1500" b="0" noProof="0" dirty="0">
              <a:sym typeface="Wingdings" panose="05000000000000000000" pitchFamily="2" charset="2"/>
            </a:endParaRPr>
          </a:p>
          <a:p>
            <a:pPr marL="0" lvl="0" indent="0">
              <a:buFont typeface="Arial" panose="020B0604020202020204" pitchFamily="34" charset="0"/>
              <a:buNone/>
            </a:pPr>
            <a:r>
              <a:rPr lang="en-US" sz="1500" b="0" noProof="0" dirty="0">
                <a:sym typeface="Wingdings" panose="05000000000000000000" pitchFamily="2" charset="2"/>
              </a:rPr>
              <a:t>FOCUSSED</a:t>
            </a:r>
            <a:r>
              <a:rPr lang="en-US" sz="1500" b="0" baseline="0" noProof="0" dirty="0">
                <a:sym typeface="Wingdings" panose="05000000000000000000" pitchFamily="2" charset="2"/>
              </a:rPr>
              <a:t> Vs. DISTRACTED</a:t>
            </a:r>
            <a:endParaRPr lang="en-US" sz="1500" b="0" noProof="0" dirty="0">
              <a:sym typeface="Wingdings" panose="05000000000000000000" pitchFamily="2" charset="2"/>
            </a:endParaRPr>
          </a:p>
          <a:p>
            <a:pPr marL="63500" lvl="0" indent="-285750">
              <a:buFont typeface="Arial" panose="020B0604020202020204" pitchFamily="34" charset="0"/>
              <a:buChar char="•"/>
            </a:pPr>
            <a:r>
              <a:rPr lang="en-US" sz="1500" b="0" noProof="0" dirty="0">
                <a:sym typeface="Wingdings" panose="05000000000000000000" pitchFamily="2" charset="2"/>
              </a:rPr>
              <a:t>Older generations</a:t>
            </a:r>
            <a:r>
              <a:rPr lang="en-US" sz="1500" b="0" baseline="0" noProof="0" dirty="0">
                <a:sym typeface="Wingdings" panose="05000000000000000000" pitchFamily="2" charset="2"/>
              </a:rPr>
              <a:t> still consuming live online, but not the case for non-live (similar to traditional channels: tune in to watch entire broadcast  satiated by live)</a:t>
            </a:r>
          </a:p>
          <a:p>
            <a:pPr marL="63500" lvl="0" indent="-285750">
              <a:buFont typeface="Arial" panose="020B0604020202020204" pitchFamily="34" charset="0"/>
              <a:buChar char="•"/>
            </a:pPr>
            <a:r>
              <a:rPr lang="en-US" sz="1500" b="0" baseline="0" noProof="0" dirty="0">
                <a:sym typeface="Wingdings" panose="05000000000000000000" pitchFamily="2" charset="2"/>
              </a:rPr>
              <a:t>Younger generations: picture very different (more non-live than live online: engaging with sports content differently: YouTube, social media platforms, etc.)</a:t>
            </a:r>
          </a:p>
          <a:p>
            <a:pPr marL="63500" lvl="0" indent="-285750">
              <a:buFont typeface="Arial" panose="020B0604020202020204" pitchFamily="34" charset="0"/>
              <a:buChar char="•"/>
            </a:pPr>
            <a:r>
              <a:rPr lang="en-US" sz="1200" b="0" kern="1200" noProof="0" dirty="0">
                <a:solidFill>
                  <a:schemeClr val="tx1"/>
                </a:solidFill>
                <a:effectLst/>
                <a:latin typeface="+mn-lt"/>
                <a:ea typeface="+mn-ea"/>
                <a:cs typeface="+mn-cs"/>
              </a:rPr>
              <a:t>E.g. TV viewers in US:</a:t>
            </a:r>
            <a:r>
              <a:rPr lang="en-US" sz="1200" b="0" kern="1200" baseline="0" noProof="0" dirty="0">
                <a:solidFill>
                  <a:schemeClr val="tx1"/>
                </a:solidFill>
                <a:effectLst/>
                <a:latin typeface="+mn-lt"/>
                <a:ea typeface="+mn-ea"/>
                <a:cs typeface="+mn-cs"/>
              </a:rPr>
              <a:t> </a:t>
            </a:r>
            <a:r>
              <a:rPr lang="en-US" sz="1200" b="0" kern="1200" noProof="0" dirty="0">
                <a:solidFill>
                  <a:schemeClr val="tx1"/>
                </a:solidFill>
                <a:effectLst/>
                <a:latin typeface="+mn-lt"/>
                <a:ea typeface="+mn-ea"/>
                <a:cs typeface="+mn-cs"/>
              </a:rPr>
              <a:t>70%+</a:t>
            </a:r>
            <a:r>
              <a:rPr lang="en-US" sz="1200" b="0" kern="1200" baseline="0" noProof="0" dirty="0">
                <a:solidFill>
                  <a:schemeClr val="tx1"/>
                </a:solidFill>
                <a:effectLst/>
                <a:latin typeface="+mn-lt"/>
                <a:ea typeface="+mn-ea"/>
                <a:cs typeface="+mn-cs"/>
              </a:rPr>
              <a:t> </a:t>
            </a:r>
            <a:r>
              <a:rPr lang="en-US" sz="1200" b="0" kern="1200" noProof="0" dirty="0">
                <a:solidFill>
                  <a:schemeClr val="tx1"/>
                </a:solidFill>
                <a:effectLst/>
                <a:latin typeface="+mn-lt"/>
                <a:ea typeface="+mn-ea"/>
                <a:cs typeface="+mn-cs"/>
              </a:rPr>
              <a:t>use 2</a:t>
            </a:r>
            <a:r>
              <a:rPr lang="en-US" sz="1200" b="0" kern="1200" baseline="30000" noProof="0" dirty="0">
                <a:solidFill>
                  <a:schemeClr val="tx1"/>
                </a:solidFill>
                <a:effectLst/>
                <a:latin typeface="+mn-lt"/>
                <a:ea typeface="+mn-ea"/>
                <a:cs typeface="+mn-cs"/>
              </a:rPr>
              <a:t>nd</a:t>
            </a:r>
            <a:r>
              <a:rPr lang="en-US" sz="1200" b="0" kern="1200" baseline="0" noProof="0" dirty="0">
                <a:solidFill>
                  <a:schemeClr val="tx1"/>
                </a:solidFill>
                <a:effectLst/>
                <a:latin typeface="+mn-lt"/>
                <a:ea typeface="+mn-ea"/>
                <a:cs typeface="+mn-cs"/>
              </a:rPr>
              <a:t> </a:t>
            </a:r>
            <a:r>
              <a:rPr lang="en-US" sz="1200" b="0" kern="1200" noProof="0" dirty="0">
                <a:solidFill>
                  <a:schemeClr val="tx1"/>
                </a:solidFill>
                <a:effectLst/>
                <a:latin typeface="+mn-lt"/>
                <a:ea typeface="+mn-ea"/>
                <a:cs typeface="+mn-cs"/>
              </a:rPr>
              <a:t>screen while watching </a:t>
            </a:r>
            <a:r>
              <a:rPr lang="en-US" sz="1200" b="0" kern="1200" baseline="0" noProof="0" dirty="0">
                <a:solidFill>
                  <a:schemeClr val="tx1"/>
                </a:solidFill>
                <a:effectLst/>
                <a:latin typeface="+mn-lt"/>
                <a:ea typeface="+mn-ea"/>
                <a:cs typeface="+mn-cs"/>
              </a:rPr>
              <a:t>(</a:t>
            </a:r>
            <a:r>
              <a:rPr lang="en-US" sz="1200" b="0" kern="1200" noProof="0" dirty="0">
                <a:solidFill>
                  <a:schemeClr val="tx1"/>
                </a:solidFill>
                <a:effectLst/>
                <a:latin typeface="+mn-lt"/>
                <a:ea typeface="+mn-ea"/>
                <a:cs typeface="+mn-cs"/>
              </a:rPr>
              <a:t>91%+</a:t>
            </a:r>
            <a:r>
              <a:rPr lang="en-US" sz="1200" b="0" kern="1200" baseline="0" noProof="0" dirty="0">
                <a:solidFill>
                  <a:schemeClr val="tx1"/>
                </a:solidFill>
                <a:effectLst/>
                <a:latin typeface="+mn-lt"/>
                <a:ea typeface="+mn-ea"/>
                <a:cs typeface="+mn-cs"/>
              </a:rPr>
              <a:t> </a:t>
            </a:r>
            <a:r>
              <a:rPr lang="en-US" sz="1200" b="0" kern="1200" noProof="0" dirty="0">
                <a:solidFill>
                  <a:schemeClr val="tx1"/>
                </a:solidFill>
                <a:effectLst/>
                <a:latin typeface="+mn-lt"/>
                <a:ea typeface="+mn-ea"/>
                <a:cs typeface="+mn-cs"/>
              </a:rPr>
              <a:t>using smartphones, 74% of 2</a:t>
            </a:r>
            <a:r>
              <a:rPr lang="en-US" sz="1200" b="0" kern="1200" baseline="30000" noProof="0" dirty="0">
                <a:solidFill>
                  <a:schemeClr val="tx1"/>
                </a:solidFill>
                <a:effectLst/>
                <a:latin typeface="+mn-lt"/>
                <a:ea typeface="+mn-ea"/>
                <a:cs typeface="+mn-cs"/>
              </a:rPr>
              <a:t>nd</a:t>
            </a:r>
            <a:r>
              <a:rPr lang="en-US" sz="1200" b="0" kern="1200" noProof="0" dirty="0">
                <a:solidFill>
                  <a:schemeClr val="tx1"/>
                </a:solidFill>
                <a:effectLst/>
                <a:latin typeface="+mn-lt"/>
                <a:ea typeface="+mn-ea"/>
                <a:cs typeface="+mn-cs"/>
              </a:rPr>
              <a:t> screen content they is unrelated to what they are watching on TV. </a:t>
            </a:r>
          </a:p>
          <a:p>
            <a:pPr marL="63500" lvl="0" indent="-285750">
              <a:buFont typeface="Arial" panose="020B0604020202020204" pitchFamily="34" charset="0"/>
              <a:buChar char="•"/>
            </a:pPr>
            <a:r>
              <a:rPr lang="en-US" sz="1200" b="0" kern="1200" noProof="0" dirty="0">
                <a:solidFill>
                  <a:schemeClr val="tx1"/>
                </a:solidFill>
                <a:effectLst/>
                <a:latin typeface="+mn-lt"/>
                <a:ea typeface="+mn-ea"/>
                <a:cs typeface="+mn-cs"/>
              </a:rPr>
              <a:t>U-35:</a:t>
            </a:r>
            <a:r>
              <a:rPr lang="en-US" sz="1200" b="0" kern="1200" baseline="0" noProof="0" dirty="0">
                <a:solidFill>
                  <a:schemeClr val="tx1"/>
                </a:solidFill>
                <a:effectLst/>
                <a:latin typeface="+mn-lt"/>
                <a:ea typeface="+mn-ea"/>
                <a:cs typeface="+mn-cs"/>
              </a:rPr>
              <a:t> </a:t>
            </a:r>
            <a:r>
              <a:rPr lang="en-US" sz="1200" b="0" kern="1200" noProof="0" dirty="0">
                <a:solidFill>
                  <a:schemeClr val="tx1"/>
                </a:solidFill>
                <a:effectLst/>
                <a:latin typeface="+mn-lt"/>
                <a:ea typeface="+mn-ea"/>
                <a:cs typeface="+mn-cs"/>
              </a:rPr>
              <a:t>watch live in a more distracted manner, and for shorter durations than O-35, or only tune in for most premium, socially engaging, must-see content</a:t>
            </a:r>
            <a:r>
              <a:rPr lang="en-US" sz="1200" b="0" kern="1200" baseline="0" noProof="0" dirty="0">
                <a:solidFill>
                  <a:schemeClr val="tx1"/>
                </a:solidFill>
                <a:effectLst/>
                <a:latin typeface="+mn-lt"/>
                <a:ea typeface="+mn-ea"/>
                <a:cs typeface="+mn-cs"/>
              </a:rPr>
              <a:t> (threshold up)</a:t>
            </a:r>
            <a:endParaRPr lang="en-US" sz="1500" b="0" noProof="0" dirty="0">
              <a:sym typeface="Wingdings" panose="05000000000000000000" pitchFamily="2" charset="2"/>
            </a:endParaRPr>
          </a:p>
          <a:p>
            <a:pPr marL="0" lvl="0" indent="-222250">
              <a:buFont typeface="Arial" panose="020B0604020202020204" pitchFamily="34" charset="0"/>
              <a:buNone/>
            </a:pPr>
            <a:endParaRPr lang="en-US" sz="1500" b="0" noProof="0" dirty="0">
              <a:sym typeface="Wingdings" panose="05000000000000000000" pitchFamily="2" charset="2"/>
            </a:endParaRPr>
          </a:p>
          <a:p>
            <a:pPr marL="0" lvl="0" indent="-222250">
              <a:buFont typeface="Arial" panose="020B0604020202020204" pitchFamily="34" charset="0"/>
              <a:buNone/>
            </a:pPr>
            <a:r>
              <a:rPr lang="en-US" sz="1500" b="0" noProof="0" dirty="0">
                <a:sym typeface="Wingdings" panose="05000000000000000000" pitchFamily="2" charset="2"/>
              </a:rPr>
              <a:t>Display IRIS graph of live Vs. non-live: key messages = not clear if shift is in type of content consumed or through which channel; </a:t>
            </a:r>
            <a:r>
              <a:rPr lang="en-US" b="0" noProof="0" dirty="0"/>
              <a:t>64 per cent of people above 50 watch live sports through online screens, demonstrating that the older generation is adapting to new ways of consuming live. As for non-live content, however, only under a quarter of those above 50 consume them online; so older people consuming sport in a similar way offline as online (take time to watch full broadcast live); our view is that going forward, the winners in the race for live spectators will be the ones innovating the most on and off the pitch, integrating the variety and </a:t>
            </a:r>
            <a:r>
              <a:rPr lang="en-US" b="0" noProof="0" dirty="0" err="1"/>
              <a:t>personalisation</a:t>
            </a:r>
            <a:r>
              <a:rPr lang="en-US" b="0" noProof="0" dirty="0"/>
              <a:t> of on-demand within a context of live consumption, all while ensuring a seamless transition into the conversations taking place on social media</a:t>
            </a:r>
            <a:endParaRPr lang="en-US" sz="1500" b="0" noProof="0" dirty="0">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048706B8-EBCC-470A-8AE8-B49CE76EE6E5}" type="slidenum">
              <a:rPr lang="en-GB" smtClean="0"/>
              <a:pPr/>
              <a:t>17</a:t>
            </a:fld>
            <a:endParaRPr lang="en-GB" dirty="0"/>
          </a:p>
        </p:txBody>
      </p:sp>
    </p:spTree>
    <p:extLst>
      <p:ext uri="{BB962C8B-B14F-4D97-AF65-F5344CB8AC3E}">
        <p14:creationId xmlns:p14="http://schemas.microsoft.com/office/powerpoint/2010/main" val="19860482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noProof="0" dirty="0">
                <a:sym typeface="Wingdings" panose="05000000000000000000" pitchFamily="2" charset="2"/>
              </a:rPr>
              <a:t>We</a:t>
            </a:r>
            <a:r>
              <a:rPr lang="en-US" sz="1200" b="0" baseline="0" noProof="0" dirty="0">
                <a:sym typeface="Wingdings" panose="05000000000000000000" pitchFamily="2" charset="2"/>
              </a:rPr>
              <a:t> also brought this dichotomy of </a:t>
            </a:r>
            <a:r>
              <a:rPr lang="en-US" sz="1200" b="1" baseline="0" noProof="0" dirty="0">
                <a:sym typeface="Wingdings" panose="05000000000000000000" pitchFamily="2" charset="2"/>
              </a:rPr>
              <a:t>type of content </a:t>
            </a:r>
            <a:r>
              <a:rPr lang="en-US" sz="1200" b="0" baseline="0" noProof="0" dirty="0">
                <a:sym typeface="Wingdings" panose="05000000000000000000" pitchFamily="2" charset="2"/>
              </a:rPr>
              <a:t>vs </a:t>
            </a:r>
            <a:r>
              <a:rPr lang="en-US" sz="1200" b="1" baseline="0" noProof="0" dirty="0">
                <a:sym typeface="Wingdings" panose="05000000000000000000" pitchFamily="2" charset="2"/>
              </a:rPr>
              <a:t>channel of consumption </a:t>
            </a:r>
            <a:r>
              <a:rPr lang="en-US" sz="1200" b="0" baseline="0" noProof="0" dirty="0">
                <a:sym typeface="Wingdings" panose="05000000000000000000" pitchFamily="2" charset="2"/>
              </a:rPr>
              <a:t>to our respondents</a:t>
            </a:r>
            <a:endParaRPr lang="en-US" sz="1200" b="1" noProof="0" dirty="0">
              <a:sym typeface="Wingdings" panose="05000000000000000000" pitchFamily="2" charset="2"/>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noProof="0" dirty="0">
                <a:sym typeface="Wingdings" panose="05000000000000000000" pitchFamily="2" charset="2"/>
              </a:rPr>
              <a:t>We’ve asked</a:t>
            </a:r>
            <a:r>
              <a:rPr lang="en-US" sz="1200" b="0" baseline="0" noProof="0" dirty="0">
                <a:sym typeface="Wingdings" panose="05000000000000000000" pitchFamily="2" charset="2"/>
              </a:rPr>
              <a:t> to tell us how they expected consumption of content to grow going forwar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Highlights or other type of “on demand” came up on top</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 the best format for mobile, online and short-form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 makes it clear how important to produce appealing content for before and after (not only duri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The bedrock of sports media (Live) comes in secon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UGC 3</a:t>
            </a:r>
            <a:r>
              <a:rPr lang="en-US" sz="1200" b="0" baseline="30000" noProof="0" dirty="0">
                <a:sym typeface="Wingdings" panose="05000000000000000000" pitchFamily="2" charset="2"/>
              </a:rPr>
              <a:t>rd</a:t>
            </a:r>
            <a:r>
              <a:rPr lang="en-US" sz="1200" b="0" baseline="0" noProof="0" dirty="0">
                <a:sym typeface="Wingdings" panose="05000000000000000000" pitchFamily="2" charset="2"/>
              </a:rPr>
              <a:t> and 4</a:t>
            </a:r>
            <a:r>
              <a:rPr lang="en-US" sz="1200" b="0" baseline="30000" noProof="0" dirty="0">
                <a:sym typeface="Wingdings" panose="05000000000000000000" pitchFamily="2" charset="2"/>
              </a:rPr>
              <a:t>th</a:t>
            </a:r>
            <a:r>
              <a:rPr lang="en-US" sz="1200" b="0" baseline="0" noProof="0" dirty="0">
                <a:sym typeface="Wingdings" panose="05000000000000000000" pitchFamily="2" charset="2"/>
              </a:rPr>
              <a:t>: teams and fans… </a:t>
            </a:r>
            <a:r>
              <a:rPr lang="en-US" sz="1200" b="1" baseline="0" noProof="0" dirty="0">
                <a:sym typeface="Wingdings" panose="05000000000000000000" pitchFamily="2" charset="2"/>
              </a:rPr>
              <a:t>AUTHENTICIY</a:t>
            </a:r>
            <a:r>
              <a:rPr lang="en-US" sz="1200" b="0" baseline="0" noProof="0" dirty="0">
                <a:sym typeface="Wingdings" panose="05000000000000000000" pitchFamily="2" charset="2"/>
              </a:rPr>
              <a:t> front and center… so more to see from the likes of COPA9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noProof="0" dirty="0">
              <a:sym typeface="Wingdings" panose="05000000000000000000" pitchFamily="2" charset="2"/>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noProof="0" dirty="0">
                <a:sym typeface="Wingdings" panose="05000000000000000000" pitchFamily="2" charset="2"/>
              </a:rPr>
              <a:t>In</a:t>
            </a:r>
            <a:r>
              <a:rPr lang="en-US" sz="1200" b="0" baseline="0" noProof="0" dirty="0">
                <a:sym typeface="Wingdings" panose="05000000000000000000" pitchFamily="2" charset="2"/>
              </a:rPr>
              <a:t> regards to channel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Digital on top –headed by Tech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 Significant noise they have been making the rights market</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 Seems to confirm the industry sees them as the ones that will potentially replace traditional pay and FTA</a:t>
            </a:r>
          </a:p>
          <a:p>
            <a:pPr marL="1543050" marR="0" lvl="3"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because of their ability to use sports as a way to keep a growing user based loyal and engaged….</a:t>
            </a:r>
          </a:p>
          <a:p>
            <a:pPr marL="1543050" marR="0" lvl="3"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baseline="0" noProof="0" dirty="0">
              <a:sym typeface="Wingdings" panose="05000000000000000000" pitchFamily="2" charset="2"/>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dirty="0">
                <a:solidFill>
                  <a:schemeClr val="tx1"/>
                </a:solidFill>
                <a:effectLst/>
                <a:latin typeface="+mn-lt"/>
                <a:ea typeface="+mn-ea"/>
                <a:cs typeface="+mn-cs"/>
              </a:rPr>
              <a:t>We’ve now looked at Media… </a:t>
            </a:r>
            <a:r>
              <a:rPr lang="en-GB" sz="1200" b="1" i="0" kern="1200" dirty="0">
                <a:solidFill>
                  <a:schemeClr val="tx1"/>
                </a:solidFill>
                <a:effectLst/>
                <a:latin typeface="+mn-lt"/>
                <a:ea typeface="+mn-ea"/>
                <a:cs typeface="+mn-cs"/>
              </a:rPr>
              <a:t>but what about sponsorship?</a:t>
            </a:r>
          </a:p>
          <a:p>
            <a:pPr marL="1543050" marR="0" lvl="3"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baseline="0" noProof="0" dirty="0">
              <a:sym typeface="Wingdings" panose="05000000000000000000" pitchFamily="2" charset="2"/>
            </a:endParaRP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baseline="0" noProof="0" dirty="0">
              <a:sym typeface="Wingdings" panose="05000000000000000000" pitchFamily="2" charset="2"/>
            </a:endParaRP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baseline="0" noProof="0" dirty="0">
              <a:sym typeface="Wingdings" panose="05000000000000000000" pitchFamily="2" charset="2"/>
            </a:endParaRP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baseline="0" noProof="0" dirty="0">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048706B8-EBCC-470A-8AE8-B49CE76EE6E5}" type="slidenum">
              <a:rPr lang="en-GB" smtClean="0"/>
              <a:pPr/>
              <a:t>19</a:t>
            </a:fld>
            <a:endParaRPr lang="en-GB" dirty="0"/>
          </a:p>
        </p:txBody>
      </p:sp>
    </p:spTree>
    <p:extLst>
      <p:ext uri="{BB962C8B-B14F-4D97-AF65-F5344CB8AC3E}">
        <p14:creationId xmlns:p14="http://schemas.microsoft.com/office/powerpoint/2010/main" val="31120953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85750" lvl="0" indent="-285750">
              <a:buFont typeface="Arial" panose="020B0604020202020204" pitchFamily="34" charset="0"/>
              <a:buChar char="•"/>
            </a:pPr>
            <a:r>
              <a:rPr lang="en-GB" sz="1500" dirty="0">
                <a:sym typeface="Wingdings" panose="05000000000000000000" pitchFamily="2" charset="2"/>
              </a:rPr>
              <a:t>We also looked at growth in terms of </a:t>
            </a:r>
            <a:r>
              <a:rPr lang="en-GB" sz="1500" b="1" dirty="0">
                <a:sym typeface="Wingdings" panose="05000000000000000000" pitchFamily="2" charset="2"/>
              </a:rPr>
              <a:t>revenue streams-</a:t>
            </a:r>
          </a:p>
          <a:p>
            <a:pPr marL="285750" lvl="0" indent="-285750">
              <a:buFont typeface="Arial" panose="020B0604020202020204" pitchFamily="34" charset="0"/>
              <a:buChar char="•"/>
            </a:pPr>
            <a:r>
              <a:rPr lang="en-GB" sz="1500" dirty="0">
                <a:sym typeface="Wingdings" panose="05000000000000000000" pitchFamily="2" charset="2"/>
              </a:rPr>
              <a:t>To</a:t>
            </a:r>
            <a:r>
              <a:rPr lang="en-GB" sz="1500" baseline="0" dirty="0">
                <a:sym typeface="Wingdings" panose="05000000000000000000" pitchFamily="2" charset="2"/>
              </a:rPr>
              <a:t> cater for transition from traditional to digital, we have split DIGITAL from TRADITIONAL TBV rights…</a:t>
            </a:r>
            <a:endParaRPr lang="en-GB" sz="1500" dirty="0">
              <a:sym typeface="Wingdings" panose="05000000000000000000" pitchFamily="2" charset="2"/>
            </a:endParaRPr>
          </a:p>
          <a:p>
            <a:pPr marL="285750" lvl="0" indent="-285750">
              <a:buFont typeface="Arial" panose="020B0604020202020204" pitchFamily="34" charset="0"/>
              <a:buChar char="•"/>
            </a:pPr>
            <a:r>
              <a:rPr lang="en-GB" sz="1500" dirty="0">
                <a:sym typeface="Wingdings" panose="05000000000000000000" pitchFamily="2" charset="2"/>
              </a:rPr>
              <a:t>respondents expect</a:t>
            </a:r>
          </a:p>
          <a:p>
            <a:pPr marL="742950" lvl="1" indent="-285750">
              <a:buFont typeface="Arial" panose="020B0604020202020204" pitchFamily="34" charset="0"/>
              <a:buChar char="•"/>
            </a:pPr>
            <a:r>
              <a:rPr lang="en-GB" sz="1500" dirty="0">
                <a:sym typeface="Wingdings" panose="05000000000000000000" pitchFamily="2" charset="2"/>
              </a:rPr>
              <a:t>11.5% for Digital</a:t>
            </a:r>
            <a:r>
              <a:rPr lang="en-GB" sz="1500" baseline="0" dirty="0">
                <a:sym typeface="Wingdings" panose="05000000000000000000" pitchFamily="2" charset="2"/>
              </a:rPr>
              <a:t> media rights</a:t>
            </a:r>
          </a:p>
          <a:p>
            <a:pPr marL="742950" lvl="1" indent="-285750">
              <a:buFont typeface="Arial" panose="020B0604020202020204" pitchFamily="34" charset="0"/>
              <a:buChar char="•"/>
            </a:pPr>
            <a:r>
              <a:rPr lang="en-GB" sz="1500" baseline="0" dirty="0">
                <a:sym typeface="Wingdings" panose="05000000000000000000" pitchFamily="2" charset="2"/>
              </a:rPr>
              <a:t>Over 3.5 times higher than traditional TV rights</a:t>
            </a:r>
          </a:p>
          <a:p>
            <a:pPr marL="1200150" lvl="2" indent="-285750">
              <a:buFont typeface="Arial" panose="020B0604020202020204" pitchFamily="34" charset="0"/>
              <a:buChar char="•"/>
            </a:pPr>
            <a:r>
              <a:rPr lang="en-GB" sz="1500" baseline="0" dirty="0">
                <a:sym typeface="Wingdings" panose="05000000000000000000" pitchFamily="2" charset="2"/>
              </a:rPr>
              <a:t>Note that many people expected traditional TV rights to decrease, hence the range starts in the negative zon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500" baseline="0" dirty="0">
                <a:sym typeface="Wingdings" panose="05000000000000000000" pitchFamily="2" charset="2"/>
              </a:rPr>
              <a:t>Sponsorship at 5.5%</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500" baseline="0" dirty="0">
                <a:sym typeface="Wingdings" panose="05000000000000000000" pitchFamily="2" charset="2"/>
              </a:rPr>
              <a:t>Interestingly enough, if you </a:t>
            </a:r>
            <a:r>
              <a:rPr lang="en-GB" sz="1500" b="1" baseline="0" dirty="0">
                <a:sym typeface="Wingdings" panose="05000000000000000000" pitchFamily="2" charset="2"/>
              </a:rPr>
              <a:t>consider overall expectations at 7%... </a:t>
            </a:r>
            <a:r>
              <a:rPr lang="en-GB" sz="1500" b="0" baseline="0" dirty="0">
                <a:sym typeface="Wingdings" panose="05000000000000000000" pitchFamily="2" charset="2"/>
              </a:rPr>
              <a:t>Seems most people expect </a:t>
            </a:r>
            <a:r>
              <a:rPr lang="en-GB" sz="1500" baseline="0" dirty="0">
                <a:sym typeface="Wingdings" panose="05000000000000000000" pitchFamily="2" charset="2"/>
              </a:rPr>
              <a:t>that growth is </a:t>
            </a:r>
            <a:r>
              <a:rPr lang="en-GB" sz="1500" b="1" u="sng" baseline="0" dirty="0">
                <a:sym typeface="Wingdings" panose="05000000000000000000" pitchFamily="2" charset="2"/>
              </a:rPr>
              <a:t>over-proportionally</a:t>
            </a:r>
            <a:r>
              <a:rPr lang="en-GB" sz="1500" baseline="0" dirty="0">
                <a:sym typeface="Wingdings" panose="05000000000000000000" pitchFamily="2" charset="2"/>
              </a:rPr>
              <a:t> coming from to Digital Media</a:t>
            </a: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lang="en-GB" sz="1500" dirty="0">
              <a:sym typeface="Wingdings" panose="05000000000000000000" pitchFamily="2" charset="2"/>
            </a:endParaRPr>
          </a:p>
          <a:p>
            <a:pPr marL="0" lvl="0" indent="0">
              <a:buFont typeface="Arial" panose="020B0604020202020204" pitchFamily="34" charset="0"/>
              <a:buNone/>
            </a:pPr>
            <a:endParaRPr lang="en-GB" sz="1500" dirty="0">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048706B8-EBCC-470A-8AE8-B49CE76EE6E5}" type="slidenum">
              <a:rPr lang="en-GB" smtClean="0"/>
              <a:pPr/>
              <a:t>20</a:t>
            </a:fld>
            <a:endParaRPr lang="en-GB" dirty="0"/>
          </a:p>
        </p:txBody>
      </p:sp>
    </p:spTree>
    <p:extLst>
      <p:ext uri="{BB962C8B-B14F-4D97-AF65-F5344CB8AC3E}">
        <p14:creationId xmlns:p14="http://schemas.microsoft.com/office/powerpoint/2010/main" val="1038236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dirty="0" err="1">
                <a:solidFill>
                  <a:schemeClr val="tx1"/>
                </a:solidFill>
                <a:effectLst/>
                <a:latin typeface="+mn-lt"/>
                <a:ea typeface="+mn-ea"/>
                <a:cs typeface="+mn-cs"/>
              </a:rPr>
              <a:t>We’s</a:t>
            </a:r>
            <a:r>
              <a:rPr lang="en-GB" sz="1200" b="0" i="0" kern="1200" dirty="0">
                <a:solidFill>
                  <a:schemeClr val="tx1"/>
                </a:solidFill>
                <a:effectLst/>
                <a:latin typeface="+mn-lt"/>
                <a:ea typeface="+mn-ea"/>
                <a:cs typeface="+mn-cs"/>
              </a:rPr>
              <a:t> asked responds</a:t>
            </a:r>
            <a:r>
              <a:rPr lang="en-GB" sz="1200" b="0" i="0" kern="1200" baseline="0" dirty="0">
                <a:solidFill>
                  <a:schemeClr val="tx1"/>
                </a:solidFill>
                <a:effectLst/>
                <a:latin typeface="+mn-lt"/>
                <a:ea typeface="+mn-ea"/>
                <a:cs typeface="+mn-cs"/>
              </a:rPr>
              <a:t> to tell us what is top priority going forward to generate value from sponsorship:</a:t>
            </a:r>
            <a:endParaRPr lang="en-GB" sz="1200" b="0" i="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dirty="0">
                <a:solidFill>
                  <a:schemeClr val="tx1"/>
                </a:solidFill>
                <a:effectLst/>
                <a:latin typeface="+mn-lt"/>
                <a:ea typeface="+mn-ea"/>
                <a:cs typeface="+mn-cs"/>
              </a:rPr>
              <a:t>It’s all about </a:t>
            </a:r>
            <a:r>
              <a:rPr lang="en-GB" sz="1200" b="1" i="0" kern="1200" dirty="0">
                <a:solidFill>
                  <a:schemeClr val="tx1"/>
                </a:solidFill>
                <a:effectLst/>
                <a:latin typeface="+mn-lt"/>
                <a:ea typeface="+mn-ea"/>
                <a:cs typeface="+mn-cs"/>
              </a:rPr>
              <a:t>personalisation</a:t>
            </a:r>
            <a:r>
              <a:rPr lang="en-GB" sz="1200" b="0" i="0" kern="1200" dirty="0">
                <a:solidFill>
                  <a:schemeClr val="tx1"/>
                </a:solidFill>
                <a:effectLst/>
                <a:latin typeface="+mn-lt"/>
                <a:ea typeface="+mn-ea"/>
                <a:cs typeface="+mn-cs"/>
              </a:rPr>
              <a:t> of content and </a:t>
            </a:r>
            <a:r>
              <a:rPr lang="en-GB" sz="1200" b="1" i="0" kern="1200" dirty="0">
                <a:solidFill>
                  <a:schemeClr val="tx1"/>
                </a:solidFill>
                <a:effectLst/>
                <a:latin typeface="+mn-lt"/>
                <a:ea typeface="+mn-ea"/>
                <a:cs typeface="+mn-cs"/>
              </a:rPr>
              <a:t>knowing your fans</a:t>
            </a:r>
            <a:r>
              <a:rPr lang="en-GB" sz="1200" b="0" i="0" kern="1200" dirty="0">
                <a:solidFill>
                  <a:schemeClr val="tx1"/>
                </a:solidFill>
                <a:effectLst/>
                <a:latin typeface="+mn-lt"/>
                <a:ea typeface="+mn-ea"/>
                <a:cs typeface="+mn-cs"/>
              </a:rPr>
              <a: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dirty="0">
                <a:solidFill>
                  <a:schemeClr val="tx1"/>
                </a:solidFill>
                <a:effectLst/>
                <a:latin typeface="+mn-lt"/>
                <a:ea typeface="+mn-ea"/>
                <a:cs typeface="+mn-cs"/>
              </a:rPr>
              <a:t>The end game is to </a:t>
            </a:r>
            <a:r>
              <a:rPr lang="en-GB" sz="1200" b="1" i="0" kern="1200" dirty="0">
                <a:solidFill>
                  <a:schemeClr val="tx1"/>
                </a:solidFill>
                <a:effectLst/>
                <a:latin typeface="+mn-lt"/>
                <a:ea typeface="+mn-ea"/>
                <a:cs typeface="+mn-cs"/>
              </a:rPr>
              <a:t>integrate data from multiple touchpoints </a:t>
            </a:r>
            <a:r>
              <a:rPr lang="en-GB" sz="1200" b="0" i="0" kern="1200" dirty="0">
                <a:solidFill>
                  <a:schemeClr val="tx1"/>
                </a:solidFill>
                <a:effectLst/>
                <a:latin typeface="+mn-lt"/>
                <a:ea typeface="+mn-ea"/>
                <a:cs typeface="+mn-cs"/>
              </a:rPr>
              <a:t>(social media usage, ticketing, merchandising, etc.) in order to build </a:t>
            </a:r>
            <a:r>
              <a:rPr lang="en-GB" sz="1200" b="1" i="0" kern="1200" dirty="0">
                <a:solidFill>
                  <a:schemeClr val="tx1"/>
                </a:solidFill>
                <a:effectLst/>
                <a:latin typeface="+mn-lt"/>
                <a:ea typeface="+mn-ea"/>
                <a:cs typeface="+mn-cs"/>
              </a:rPr>
              <a:t>fan profiles </a:t>
            </a:r>
            <a:r>
              <a:rPr lang="en-GB" sz="1200" b="0" i="0" kern="1200" dirty="0">
                <a:solidFill>
                  <a:schemeClr val="tx1"/>
                </a:solidFill>
                <a:effectLst/>
                <a:latin typeface="+mn-lt"/>
                <a:ea typeface="+mn-ea"/>
                <a:cs typeface="+mn-cs"/>
              </a:rPr>
              <a:t>which will facilitate real-time targeting;</a:t>
            </a:r>
            <a:r>
              <a:rPr lang="en-GB" sz="1200" b="0" i="0" kern="1200" baseline="0" dirty="0">
                <a:solidFill>
                  <a:schemeClr val="tx1"/>
                </a:solidFill>
                <a:effectLst/>
                <a:latin typeface="+mn-lt"/>
                <a:ea typeface="+mn-ea"/>
                <a:cs typeface="+mn-cs"/>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baseline="0" dirty="0">
                <a:solidFill>
                  <a:schemeClr val="tx1"/>
                </a:solidFill>
                <a:effectLst/>
                <a:latin typeface="+mn-lt"/>
                <a:ea typeface="+mn-ea"/>
                <a:cs typeface="+mn-cs"/>
              </a:rPr>
              <a:t>b</a:t>
            </a:r>
            <a:r>
              <a:rPr lang="en-GB" sz="1200" b="0" i="0" kern="1200" dirty="0">
                <a:solidFill>
                  <a:schemeClr val="tx1"/>
                </a:solidFill>
                <a:effectLst/>
                <a:latin typeface="+mn-lt"/>
                <a:ea typeface="+mn-ea"/>
                <a:cs typeface="+mn-cs"/>
              </a:rPr>
              <a:t>randed content’s comes in twice here: and exactly</a:t>
            </a:r>
            <a:r>
              <a:rPr lang="en-GB" sz="1200" b="0" i="0" kern="1200" baseline="0" dirty="0">
                <a:solidFill>
                  <a:schemeClr val="tx1"/>
                </a:solidFill>
                <a:effectLst/>
                <a:latin typeface="+mn-lt"/>
                <a:ea typeface="+mn-ea"/>
                <a:cs typeface="+mn-cs"/>
              </a:rPr>
              <a:t> with same results: branded content for own platforms and for that on rights holders</a:t>
            </a:r>
            <a:endParaRPr lang="en-GB" sz="1200" b="0" i="0" kern="1200" dirty="0">
              <a:solidFill>
                <a:schemeClr val="tx1"/>
              </a:solidFill>
              <a:effectLst/>
              <a:latin typeface="+mn-lt"/>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dirty="0">
                <a:solidFill>
                  <a:schemeClr val="tx1"/>
                </a:solidFill>
                <a:effectLst/>
                <a:latin typeface="+mn-lt"/>
                <a:ea typeface="+mn-ea"/>
                <a:cs typeface="+mn-cs"/>
              </a:rPr>
              <a:t>What does this mean?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dirty="0">
                <a:solidFill>
                  <a:schemeClr val="tx1"/>
                </a:solidFill>
                <a:effectLst/>
                <a:latin typeface="+mn-lt"/>
                <a:ea typeface="+mn-ea"/>
                <a:cs typeface="+mn-cs"/>
              </a:rPr>
              <a:t>Creativity and authenticity are</a:t>
            </a:r>
            <a:r>
              <a:rPr lang="en-GB" sz="1200" b="0" i="0" kern="1200" baseline="0" dirty="0">
                <a:solidFill>
                  <a:schemeClr val="tx1"/>
                </a:solidFill>
                <a:effectLst/>
                <a:latin typeface="+mn-lt"/>
                <a:ea typeface="+mn-ea"/>
                <a:cs typeface="+mn-cs"/>
              </a:rPr>
              <a:t> the way…</a:t>
            </a:r>
            <a:endParaRPr lang="en-GB" sz="1200" b="0" i="0" kern="1200" dirty="0">
              <a:solidFill>
                <a:schemeClr val="tx1"/>
              </a:solidFill>
              <a:effectLst/>
              <a:latin typeface="+mn-lt"/>
              <a:ea typeface="+mn-ea"/>
              <a:cs typeface="+mn-cs"/>
            </a:endParaRP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dirty="0">
                <a:solidFill>
                  <a:schemeClr val="tx1"/>
                </a:solidFill>
                <a:effectLst/>
                <a:latin typeface="+mn-lt"/>
                <a:ea typeface="+mn-ea"/>
                <a:cs typeface="+mn-cs"/>
              </a:rPr>
              <a:t>The importance</a:t>
            </a:r>
            <a:r>
              <a:rPr lang="en-GB" sz="1200" b="0" i="0" kern="1200" baseline="0" dirty="0">
                <a:solidFill>
                  <a:schemeClr val="tx1"/>
                </a:solidFill>
                <a:effectLst/>
                <a:latin typeface="+mn-lt"/>
                <a:ea typeface="+mn-ea"/>
                <a:cs typeface="+mn-cs"/>
              </a:rPr>
              <a:t> for sponsors to access </a:t>
            </a:r>
            <a:r>
              <a:rPr lang="en-GB" sz="1200" b="0" i="0" kern="1200" dirty="0">
                <a:solidFill>
                  <a:schemeClr val="tx1"/>
                </a:solidFill>
                <a:effectLst/>
                <a:latin typeface="+mn-lt"/>
                <a:ea typeface="+mn-ea"/>
                <a:cs typeface="+mn-cs"/>
              </a:rPr>
              <a:t>athletes’ and teams’ </a:t>
            </a:r>
            <a:r>
              <a:rPr lang="en-GB" sz="1200" b="1" i="0" kern="1200" dirty="0">
                <a:solidFill>
                  <a:schemeClr val="tx1"/>
                </a:solidFill>
                <a:effectLst/>
                <a:latin typeface="+mn-lt"/>
                <a:ea typeface="+mn-ea"/>
                <a:cs typeface="+mn-cs"/>
              </a:rPr>
              <a:t>personalities</a:t>
            </a:r>
            <a:r>
              <a:rPr lang="en-GB" sz="1200" b="0" i="0" kern="1200" dirty="0">
                <a:solidFill>
                  <a:schemeClr val="tx1"/>
                </a:solidFill>
                <a:effectLst/>
                <a:latin typeface="+mn-lt"/>
                <a:ea typeface="+mn-ea"/>
                <a:cs typeface="+mn-cs"/>
              </a:rPr>
              <a:t>, their stories and their values, and, last but not least, </a:t>
            </a:r>
            <a:r>
              <a:rPr lang="en-GB" sz="1200" b="1" i="0" kern="1200" dirty="0">
                <a:solidFill>
                  <a:schemeClr val="tx1"/>
                </a:solidFill>
                <a:effectLst/>
                <a:latin typeface="+mn-lt"/>
                <a:ea typeface="+mn-ea"/>
                <a:cs typeface="+mn-cs"/>
              </a:rPr>
              <a:t>their fans</a:t>
            </a:r>
            <a:r>
              <a:rPr lang="en-GB" sz="1200" b="1" i="0" kern="1200" baseline="0" dirty="0">
                <a:solidFill>
                  <a:schemeClr val="tx1"/>
                </a:solidFill>
                <a:effectLst/>
                <a:latin typeface="+mn-lt"/>
                <a:ea typeface="+mn-ea"/>
                <a:cs typeface="+mn-cs"/>
              </a:rPr>
              <a:t> </a:t>
            </a:r>
            <a:r>
              <a:rPr lang="en-GB" sz="1200" b="0" i="0" kern="1200" baseline="0" dirty="0">
                <a:solidFill>
                  <a:schemeClr val="tx1"/>
                </a:solidFill>
                <a:effectLst/>
                <a:latin typeface="+mn-lt"/>
                <a:ea typeface="+mn-ea"/>
                <a:cs typeface="+mn-cs"/>
              </a:rPr>
              <a:t>!</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i="0" kern="1200" baseline="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baseline="0" dirty="0">
                <a:solidFill>
                  <a:schemeClr val="tx1"/>
                </a:solidFill>
                <a:effectLst/>
                <a:latin typeface="+mn-lt"/>
                <a:ea typeface="+mn-ea"/>
                <a:cs typeface="+mn-cs"/>
              </a:rPr>
              <a:t>What does this tell us about the very structure of sponsorship?</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baseline="0" dirty="0">
                <a:solidFill>
                  <a:schemeClr val="tx1"/>
                </a:solidFill>
                <a:effectLst/>
                <a:latin typeface="+mn-lt"/>
                <a:ea typeface="+mn-ea"/>
                <a:cs typeface="+mn-cs"/>
              </a:rPr>
              <a:t>I think, we will be experiencing a “split” within sponsorship as we know it today… today’s sponsors, will either become “partners”… or “advertisers”…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baseline="0" dirty="0">
                <a:solidFill>
                  <a:schemeClr val="tx1"/>
                </a:solidFill>
                <a:effectLst/>
                <a:latin typeface="+mn-lt"/>
                <a:ea typeface="+mn-ea"/>
                <a:cs typeface="+mn-cs"/>
              </a:rPr>
              <a:t>Partners will place their focus on these items: personalisation, branded content – all about engagement</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baseline="0" dirty="0">
                <a:solidFill>
                  <a:schemeClr val="tx1"/>
                </a:solidFill>
                <a:effectLst/>
                <a:latin typeface="+mn-lt"/>
                <a:ea typeface="+mn-ea"/>
                <a:cs typeface="+mn-cs"/>
              </a:rPr>
              <a:t>Advertisers will use sports as a way to get their brand outs… and Virtual Advertisement will make that possible</a:t>
            </a:r>
            <a:endParaRPr lang="en-GB" sz="1200" b="0" i="0" kern="1200" dirty="0">
              <a:solidFill>
                <a:schemeClr val="tx1"/>
              </a:solidFill>
              <a:effectLst/>
              <a:latin typeface="+mn-lt"/>
              <a:ea typeface="+mn-ea"/>
              <a:cs typeface="+mn-cs"/>
            </a:endParaRP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i="0" kern="1200" baseline="0" dirty="0">
              <a:solidFill>
                <a:schemeClr val="tx1"/>
              </a:solidFill>
              <a:effectLst/>
              <a:latin typeface="+mn-lt"/>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48706B8-EBCC-470A-8AE8-B49CE76EE6E5}" type="slidenum">
              <a:rPr lang="en-GB" smtClean="0"/>
              <a:pPr/>
              <a:t>22</a:t>
            </a:fld>
            <a:endParaRPr lang="en-GB" dirty="0"/>
          </a:p>
        </p:txBody>
      </p:sp>
    </p:spTree>
    <p:extLst>
      <p:ext uri="{BB962C8B-B14F-4D97-AF65-F5344CB8AC3E}">
        <p14:creationId xmlns:p14="http://schemas.microsoft.com/office/powerpoint/2010/main" val="27494063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C0B208-C5EB-43CC-9338-42FE52682875}" type="slidenum">
              <a:rPr lang="en-GB" smtClean="0"/>
              <a:t>40</a:t>
            </a:fld>
            <a:endParaRPr lang="en-GB"/>
          </a:p>
        </p:txBody>
      </p:sp>
    </p:spTree>
    <p:extLst>
      <p:ext uri="{BB962C8B-B14F-4D97-AF65-F5344CB8AC3E}">
        <p14:creationId xmlns:p14="http://schemas.microsoft.com/office/powerpoint/2010/main" val="32855896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Master" Target="../slideMasters/slideMaster2.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1.emf"/><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oleObject" Target="../embeddings/oleObject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fr-FR"/>
              <a:t>Modifiez le style du titr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8/2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24158107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re et légende">
    <p:spTree>
      <p:nvGrpSpPr>
        <p:cNvPr id="1" name=""/>
        <p:cNvGrpSpPr/>
        <p:nvPr/>
      </p:nvGrpSpPr>
      <p:grpSpPr>
        <a:xfrm>
          <a:off x="0" y="0"/>
          <a:ext cx="0" cy="0"/>
          <a:chOff x="0" y="0"/>
          <a:chExt cx="0" cy="0"/>
        </a:xfrm>
      </p:grpSpPr>
      <p:sp>
        <p:nvSpPr>
          <p:cNvPr id="2" name="Title 1"/>
          <p:cNvSpPr>
            <a:spLocks noGrp="1"/>
          </p:cNvSpPr>
          <p:nvPr>
            <p:ph type="title"/>
          </p:nvPr>
        </p:nvSpPr>
        <p:spPr>
          <a:xfrm>
            <a:off x="2589212" y="609600"/>
            <a:ext cx="8915399" cy="3117040"/>
          </a:xfrm>
        </p:spPr>
        <p:txBody>
          <a:bodyPr anchor="ctr">
            <a:normAutofit/>
          </a:bodyPr>
          <a:lstStyle>
            <a:lvl1pPr algn="l">
              <a:defRPr sz="4800" b="0" cap="none"/>
            </a:lvl1pPr>
          </a:lstStyle>
          <a:p>
            <a:r>
              <a:rPr lang="fr-FR"/>
              <a:t>Modifiez le style du titre</a:t>
            </a:r>
            <a:endParaRPr lang="en-US" dirty="0"/>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Cliquez pour modifier les styles du texte du masque</a:t>
            </a:r>
          </a:p>
        </p:txBody>
      </p:sp>
      <p:sp>
        <p:nvSpPr>
          <p:cNvPr id="4" name="Date Placeholder 3"/>
          <p:cNvSpPr>
            <a:spLocks noGrp="1"/>
          </p:cNvSpPr>
          <p:nvPr>
            <p:ph type="dt" sz="half" idx="10"/>
          </p:nvPr>
        </p:nvSpPr>
        <p:spPr/>
        <p:txBody>
          <a:bodyPr/>
          <a:lstStyle/>
          <a:p>
            <a:fld id="{B61BEF0D-F0BB-DE4B-95CE-6DB70DBA9567}" type="datetimeFigureOut">
              <a:rPr lang="en-US" dirty="0"/>
              <a:pPr/>
              <a:t>8/2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40796310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itation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fr-FR"/>
              <a:t>Modifiez le style du titre</a:t>
            </a:r>
            <a:endParaRPr lang="en-US" dirty="0"/>
          </a:p>
        </p:txBody>
      </p:sp>
      <p:sp>
        <p:nvSpPr>
          <p:cNvPr id="13" name="Text Placeholder 9"/>
          <p:cNvSpPr>
            <a:spLocks noGrp="1"/>
          </p:cNvSpPr>
          <p:nvPr>
            <p:ph type="body" sz="quarter" idx="13"/>
          </p:nvPr>
        </p:nvSpPr>
        <p:spPr>
          <a:xfrm>
            <a:off x="3275012" y="3505200"/>
            <a:ext cx="753655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r-FR"/>
              <a:t>Cliquez pour modifier les styles du texte du masque</a:t>
            </a:r>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Cliquez pour modifier les styles du texte du masque</a:t>
            </a:r>
          </a:p>
        </p:txBody>
      </p:sp>
      <p:sp>
        <p:nvSpPr>
          <p:cNvPr id="4" name="Date Placeholder 3"/>
          <p:cNvSpPr>
            <a:spLocks noGrp="1"/>
          </p:cNvSpPr>
          <p:nvPr>
            <p:ph type="dt" sz="half" idx="10"/>
          </p:nvPr>
        </p:nvSpPr>
        <p:spPr/>
        <p:txBody>
          <a:bodyPr/>
          <a:lstStyle/>
          <a:p>
            <a:fld id="{B61BEF0D-F0BB-DE4B-95CE-6DB70DBA9567}" type="datetimeFigureOut">
              <a:rPr lang="en-US" dirty="0"/>
              <a:pPr/>
              <a:t>8/2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1"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dirty="0"/>
              <a:pPr/>
              <a:t>‹N°›</a:t>
            </a:fld>
            <a:endParaRPr lang="en-US" dirty="0"/>
          </a:p>
        </p:txBody>
      </p:sp>
      <p:sp>
        <p:nvSpPr>
          <p:cNvPr id="14" name="TextBox 13"/>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5" name="TextBox 14"/>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20566710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arte nom">
    <p:spTree>
      <p:nvGrpSpPr>
        <p:cNvPr id="1" name=""/>
        <p:cNvGrpSpPr/>
        <p:nvPr/>
      </p:nvGrpSpPr>
      <p:grpSpPr>
        <a:xfrm>
          <a:off x="0" y="0"/>
          <a:ext cx="0" cy="0"/>
          <a:chOff x="0" y="0"/>
          <a:chExt cx="0" cy="0"/>
        </a:xfrm>
      </p:grpSpPr>
      <p:sp>
        <p:nvSpPr>
          <p:cNvPr id="2" name="Title 1"/>
          <p:cNvSpPr>
            <a:spLocks noGrp="1"/>
          </p:cNvSpPr>
          <p:nvPr>
            <p:ph type="title"/>
          </p:nvPr>
        </p:nvSpPr>
        <p:spPr>
          <a:xfrm>
            <a:off x="2589213" y="2438400"/>
            <a:ext cx="8915400" cy="2724845"/>
          </a:xfrm>
        </p:spPr>
        <p:txBody>
          <a:bodyPr anchor="b">
            <a:normAutofit/>
          </a:bodyPr>
          <a:lstStyle>
            <a:lvl1pPr algn="l">
              <a:defRPr sz="4800" b="0"/>
            </a:lvl1pPr>
          </a:lstStyle>
          <a:p>
            <a:r>
              <a:rPr lang="fr-FR"/>
              <a:t>Modifiez le style du titre</a:t>
            </a:r>
            <a:endParaRPr lang="en-US" dirty="0"/>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fr-FR"/>
              <a:t>Cliquez pour modifier les styles du texte du masque</a:t>
            </a:r>
          </a:p>
        </p:txBody>
      </p:sp>
      <p:sp>
        <p:nvSpPr>
          <p:cNvPr id="5" name="Date Placeholder 4"/>
          <p:cNvSpPr>
            <a:spLocks noGrp="1"/>
          </p:cNvSpPr>
          <p:nvPr>
            <p:ph type="dt" sz="half" idx="10"/>
          </p:nvPr>
        </p:nvSpPr>
        <p:spPr/>
        <p:txBody>
          <a:bodyPr/>
          <a:lstStyle/>
          <a:p>
            <a:fld id="{B61BEF0D-F0BB-DE4B-95CE-6DB70DBA9567}" type="datetimeFigureOut">
              <a:rPr lang="en-US" dirty="0"/>
              <a:pPr/>
              <a:t>8/29/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39201395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arte nom citation">
    <p:spTree>
      <p:nvGrpSpPr>
        <p:cNvPr id="1" name=""/>
        <p:cNvGrpSpPr/>
        <p:nvPr/>
      </p:nvGrpSpPr>
      <p:grpSpPr>
        <a:xfrm>
          <a:off x="0" y="0"/>
          <a:ext cx="0" cy="0"/>
          <a:chOff x="0" y="0"/>
          <a:chExt cx="0" cy="0"/>
        </a:xfrm>
      </p:grpSpPr>
      <p:sp>
        <p:nvSpPr>
          <p:cNvPr id="1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fr-FR"/>
              <a:t>Modifiez le style du titr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r-FR"/>
              <a:t>Cliquez pour modifier les styles du texte du masque</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fr-FR"/>
              <a:t>Cliquez pour modifier les styles du texte du masque</a:t>
            </a:r>
          </a:p>
        </p:txBody>
      </p:sp>
      <p:sp>
        <p:nvSpPr>
          <p:cNvPr id="5" name="Date Placeholder 4"/>
          <p:cNvSpPr>
            <a:spLocks noGrp="1"/>
          </p:cNvSpPr>
          <p:nvPr>
            <p:ph type="dt" sz="half" idx="10"/>
          </p:nvPr>
        </p:nvSpPr>
        <p:spPr/>
        <p:txBody>
          <a:bodyPr/>
          <a:lstStyle/>
          <a:p>
            <a:fld id="{B61BEF0D-F0BB-DE4B-95CE-6DB70DBA9567}" type="datetimeFigureOut">
              <a:rPr lang="en-US" dirty="0"/>
              <a:pPr/>
              <a:t>8/29/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11"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dirty="0"/>
              <a:pPr/>
              <a:t>‹N°›</a:t>
            </a:fld>
            <a:endParaRPr lang="en-US" dirty="0"/>
          </a:p>
        </p:txBody>
      </p:sp>
      <p:sp>
        <p:nvSpPr>
          <p:cNvPr id="17" name="TextBox 16"/>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8" name="TextBox 17"/>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33701702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rai ou faux">
    <p:spTree>
      <p:nvGrpSpPr>
        <p:cNvPr id="1" name=""/>
        <p:cNvGrpSpPr/>
        <p:nvPr/>
      </p:nvGrpSpPr>
      <p:grpSpPr>
        <a:xfrm>
          <a:off x="0" y="0"/>
          <a:ext cx="0" cy="0"/>
          <a:chOff x="0" y="0"/>
          <a:chExt cx="0" cy="0"/>
        </a:xfrm>
      </p:grpSpPr>
      <p:sp>
        <p:nvSpPr>
          <p:cNvPr id="2" name="Title 1"/>
          <p:cNvSpPr>
            <a:spLocks noGrp="1"/>
          </p:cNvSpPr>
          <p:nvPr>
            <p:ph type="title"/>
          </p:nvPr>
        </p:nvSpPr>
        <p:spPr>
          <a:xfrm>
            <a:off x="2589212" y="627407"/>
            <a:ext cx="8915399" cy="2880020"/>
          </a:xfrm>
        </p:spPr>
        <p:txBody>
          <a:bodyPr anchor="ctr">
            <a:normAutofit/>
          </a:bodyPr>
          <a:lstStyle>
            <a:lvl1pPr algn="l">
              <a:defRPr sz="4800" b="0"/>
            </a:lvl1pPr>
          </a:lstStyle>
          <a:p>
            <a:r>
              <a:rPr lang="fr-FR"/>
              <a:t>Modifiez le style du titr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r-FR"/>
              <a:t>Cliquez pour modifier les styles du texte du masque</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fr-FR"/>
              <a:t>Cliquez pour modifier les styles du texte du masque</a:t>
            </a:r>
          </a:p>
        </p:txBody>
      </p:sp>
      <p:sp>
        <p:nvSpPr>
          <p:cNvPr id="5" name="Date Placeholder 4"/>
          <p:cNvSpPr>
            <a:spLocks noGrp="1"/>
          </p:cNvSpPr>
          <p:nvPr>
            <p:ph type="dt" sz="half" idx="10"/>
          </p:nvPr>
        </p:nvSpPr>
        <p:spPr/>
        <p:txBody>
          <a:bodyPr/>
          <a:lstStyle/>
          <a:p>
            <a:fld id="{B61BEF0D-F0BB-DE4B-95CE-6DB70DBA9567}" type="datetimeFigureOut">
              <a:rPr lang="en-US" dirty="0"/>
              <a:pPr/>
              <a:t>8/29/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37065692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Vertical Text Placeholder 2"/>
          <p:cNvSpPr>
            <a:spLocks noGrp="1"/>
          </p:cNvSpPr>
          <p:nvPr>
            <p:ph type="body" orient="vert" idx="1"/>
          </p:nvPr>
        </p:nvSpPr>
        <p:spPr/>
        <p:txBody>
          <a:bodyPr vert="eaVert" ancho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8/2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4657700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94812" y="627405"/>
            <a:ext cx="2207601" cy="5283817"/>
          </a:xfrm>
        </p:spPr>
        <p:txBody>
          <a:bodyPr vert="eaVert" anchor="ctr"/>
          <a:lstStyle/>
          <a:p>
            <a:r>
              <a:rPr lang="fr-FR"/>
              <a:t>Modifiez le style du titre</a:t>
            </a:r>
            <a:endParaRPr lang="en-US" dirty="0"/>
          </a:p>
        </p:txBody>
      </p:sp>
      <p:sp>
        <p:nvSpPr>
          <p:cNvPr id="3" name="Vertical Text Placeholder 2"/>
          <p:cNvSpPr>
            <a:spLocks noGrp="1"/>
          </p:cNvSpPr>
          <p:nvPr>
            <p:ph type="body" orient="vert" idx="1"/>
          </p:nvPr>
        </p:nvSpPr>
        <p:spPr>
          <a:xfrm>
            <a:off x="2589212" y="627405"/>
            <a:ext cx="6477000" cy="5283817"/>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8/2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20926557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383C8A5-A1D9-8C6A-BB2E-BC7E1C9AB1E7}"/>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C6068FC3-9656-8AB6-B1A9-98FD8F2CB21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71F53E80-DFCF-C5D3-F922-ECBDBDC0AE2D}"/>
              </a:ext>
            </a:extLst>
          </p:cNvPr>
          <p:cNvSpPr>
            <a:spLocks noGrp="1"/>
          </p:cNvSpPr>
          <p:nvPr>
            <p:ph type="dt" sz="half" idx="10"/>
          </p:nvPr>
        </p:nvSpPr>
        <p:spPr/>
        <p:txBody>
          <a:bodyPr/>
          <a:lstStyle/>
          <a:p>
            <a:fld id="{96DFF08F-DC6B-4601-B491-B0F83F6DD2DA}" type="datetimeFigureOut">
              <a:rPr lang="en-US" smtClean="0"/>
              <a:t>8/29/2023</a:t>
            </a:fld>
            <a:endParaRPr lang="en-US" dirty="0"/>
          </a:p>
        </p:txBody>
      </p:sp>
      <p:sp>
        <p:nvSpPr>
          <p:cNvPr id="5" name="Espace réservé du pied de page 4">
            <a:extLst>
              <a:ext uri="{FF2B5EF4-FFF2-40B4-BE49-F238E27FC236}">
                <a16:creationId xmlns:a16="http://schemas.microsoft.com/office/drawing/2014/main" id="{B06FD9FC-35D7-0640-1758-7F2C5C2F9F34}"/>
              </a:ext>
            </a:extLst>
          </p:cNvPr>
          <p:cNvSpPr>
            <a:spLocks noGrp="1"/>
          </p:cNvSpPr>
          <p:nvPr>
            <p:ph type="ftr" sz="quarter" idx="11"/>
          </p:nvPr>
        </p:nvSpPr>
        <p:spPr/>
        <p:txBody>
          <a:bodyPr/>
          <a:lstStyle/>
          <a:p>
            <a:endParaRPr lang="en-US" dirty="0"/>
          </a:p>
        </p:txBody>
      </p:sp>
      <p:sp>
        <p:nvSpPr>
          <p:cNvPr id="6" name="Espace réservé du numéro de diapositive 5">
            <a:extLst>
              <a:ext uri="{FF2B5EF4-FFF2-40B4-BE49-F238E27FC236}">
                <a16:creationId xmlns:a16="http://schemas.microsoft.com/office/drawing/2014/main" id="{55B45694-2C87-A7B1-9BDC-1402B4AC1275}"/>
              </a:ext>
            </a:extLst>
          </p:cNvPr>
          <p:cNvSpPr>
            <a:spLocks noGrp="1"/>
          </p:cNvSpPr>
          <p:nvPr>
            <p:ph type="sldNum" sz="quarter" idx="12"/>
          </p:nvPr>
        </p:nvSpPr>
        <p:spPr/>
        <p:txBody>
          <a:bodyPr/>
          <a:lstStyle/>
          <a:p>
            <a:fld id="{4FAB73BC-B049-4115-A692-8D63A059BFB8}" type="slidenum">
              <a:rPr lang="en-US" smtClean="0"/>
              <a:t>‹N°›</a:t>
            </a:fld>
            <a:endParaRPr lang="en-US" dirty="0"/>
          </a:p>
        </p:txBody>
      </p:sp>
    </p:spTree>
    <p:extLst>
      <p:ext uri="{BB962C8B-B14F-4D97-AF65-F5344CB8AC3E}">
        <p14:creationId xmlns:p14="http://schemas.microsoft.com/office/powerpoint/2010/main" val="19425783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46E4165-3A56-66FD-096E-C05158B5D0E4}"/>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A98BC0C0-F8BB-6C6F-0E83-4760D1C74151}"/>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D1C851FA-83C0-C63F-14FE-375084190DC8}"/>
              </a:ext>
            </a:extLst>
          </p:cNvPr>
          <p:cNvSpPr>
            <a:spLocks noGrp="1"/>
          </p:cNvSpPr>
          <p:nvPr>
            <p:ph type="dt" sz="half" idx="10"/>
          </p:nvPr>
        </p:nvSpPr>
        <p:spPr/>
        <p:txBody>
          <a:bodyPr/>
          <a:lstStyle/>
          <a:p>
            <a:fld id="{D62CEF3B-A037-46D0-B02C-1428F07E9383}" type="datetimeFigureOut">
              <a:rPr lang="en-US" smtClean="0"/>
              <a:t>8/29/2023</a:t>
            </a:fld>
            <a:endParaRPr lang="en-US" dirty="0"/>
          </a:p>
        </p:txBody>
      </p:sp>
      <p:sp>
        <p:nvSpPr>
          <p:cNvPr id="5" name="Espace réservé du pied de page 4">
            <a:extLst>
              <a:ext uri="{FF2B5EF4-FFF2-40B4-BE49-F238E27FC236}">
                <a16:creationId xmlns:a16="http://schemas.microsoft.com/office/drawing/2014/main" id="{1CCA7EDA-7063-D362-FBAC-A5D37A1FFA05}"/>
              </a:ext>
            </a:extLst>
          </p:cNvPr>
          <p:cNvSpPr>
            <a:spLocks noGrp="1"/>
          </p:cNvSpPr>
          <p:nvPr>
            <p:ph type="ftr" sz="quarter" idx="11"/>
          </p:nvPr>
        </p:nvSpPr>
        <p:spPr/>
        <p:txBody>
          <a:bodyPr/>
          <a:lstStyle/>
          <a:p>
            <a:endParaRPr lang="en-US" dirty="0"/>
          </a:p>
        </p:txBody>
      </p:sp>
      <p:sp>
        <p:nvSpPr>
          <p:cNvPr id="6" name="Espace réservé du numéro de diapositive 5">
            <a:extLst>
              <a:ext uri="{FF2B5EF4-FFF2-40B4-BE49-F238E27FC236}">
                <a16:creationId xmlns:a16="http://schemas.microsoft.com/office/drawing/2014/main" id="{1CE75627-4DB3-5914-500A-CA939F98E173}"/>
              </a:ext>
            </a:extLst>
          </p:cNvPr>
          <p:cNvSpPr>
            <a:spLocks noGrp="1"/>
          </p:cNvSpPr>
          <p:nvPr>
            <p:ph type="sldNum" sz="quarter" idx="12"/>
          </p:nvPr>
        </p:nvSpPr>
        <p:spPr/>
        <p:txBody>
          <a:bodyPr/>
          <a:lstStyle/>
          <a:p>
            <a:fld id="{4CE482DC-2269-4F26-9D2A-7E44B1A4CD85}" type="slidenum">
              <a:rPr lang="en-US" smtClean="0"/>
              <a:t>‹N°›</a:t>
            </a:fld>
            <a:endParaRPr lang="en-US" dirty="0"/>
          </a:p>
        </p:txBody>
      </p:sp>
    </p:spTree>
    <p:extLst>
      <p:ext uri="{BB962C8B-B14F-4D97-AF65-F5344CB8AC3E}">
        <p14:creationId xmlns:p14="http://schemas.microsoft.com/office/powerpoint/2010/main" val="5369317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4CD7D71-BDF3-7DFF-6E00-C73A68F1D67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C550F590-0A8F-EB8E-8471-9B9F67C1B3C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ADB4FEBB-87FD-A627-2BDD-508175CDCC38}"/>
              </a:ext>
            </a:extLst>
          </p:cNvPr>
          <p:cNvSpPr>
            <a:spLocks noGrp="1"/>
          </p:cNvSpPr>
          <p:nvPr>
            <p:ph type="dt" sz="half" idx="10"/>
          </p:nvPr>
        </p:nvSpPr>
        <p:spPr/>
        <p:txBody>
          <a:bodyPr/>
          <a:lstStyle/>
          <a:p>
            <a:fld id="{96DFF08F-DC6B-4601-B491-B0F83F6DD2DA}" type="datetimeFigureOut">
              <a:rPr lang="en-US" smtClean="0"/>
              <a:t>8/29/2023</a:t>
            </a:fld>
            <a:endParaRPr lang="en-US" dirty="0"/>
          </a:p>
        </p:txBody>
      </p:sp>
      <p:sp>
        <p:nvSpPr>
          <p:cNvPr id="5" name="Espace réservé du pied de page 4">
            <a:extLst>
              <a:ext uri="{FF2B5EF4-FFF2-40B4-BE49-F238E27FC236}">
                <a16:creationId xmlns:a16="http://schemas.microsoft.com/office/drawing/2014/main" id="{A2E930EC-E595-A99E-FBB1-200839C49D87}"/>
              </a:ext>
            </a:extLst>
          </p:cNvPr>
          <p:cNvSpPr>
            <a:spLocks noGrp="1"/>
          </p:cNvSpPr>
          <p:nvPr>
            <p:ph type="ftr" sz="quarter" idx="11"/>
          </p:nvPr>
        </p:nvSpPr>
        <p:spPr/>
        <p:txBody>
          <a:bodyPr/>
          <a:lstStyle/>
          <a:p>
            <a:endParaRPr lang="en-US" dirty="0"/>
          </a:p>
        </p:txBody>
      </p:sp>
      <p:sp>
        <p:nvSpPr>
          <p:cNvPr id="6" name="Espace réservé du numéro de diapositive 5">
            <a:extLst>
              <a:ext uri="{FF2B5EF4-FFF2-40B4-BE49-F238E27FC236}">
                <a16:creationId xmlns:a16="http://schemas.microsoft.com/office/drawing/2014/main" id="{3E2A58A7-52F9-C852-6FBA-D24A7E28642E}"/>
              </a:ext>
            </a:extLst>
          </p:cNvPr>
          <p:cNvSpPr>
            <a:spLocks noGrp="1"/>
          </p:cNvSpPr>
          <p:nvPr>
            <p:ph type="sldNum" sz="quarter" idx="12"/>
          </p:nvPr>
        </p:nvSpPr>
        <p:spPr/>
        <p:txBody>
          <a:bodyPr/>
          <a:lstStyle/>
          <a:p>
            <a:fld id="{4FAB73BC-B049-4115-A692-8D63A059BFB8}" type="slidenum">
              <a:rPr lang="en-US" smtClean="0"/>
              <a:t>‹N°›</a:t>
            </a:fld>
            <a:endParaRPr lang="en-US" dirty="0"/>
          </a:p>
        </p:txBody>
      </p:sp>
    </p:spTree>
    <p:extLst>
      <p:ext uri="{BB962C8B-B14F-4D97-AF65-F5344CB8AC3E}">
        <p14:creationId xmlns:p14="http://schemas.microsoft.com/office/powerpoint/2010/main" val="40468523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fr-FR"/>
              <a:t>Modifiez le style du titr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8/2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16779949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86004C7-267C-1709-4ABF-896AFF767B61}"/>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159AED76-85F9-C1F8-032A-32052158431E}"/>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6371978B-B78C-6AF4-2173-9B59DD50C5A4}"/>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DF1A284B-C0F7-E459-EC72-4B5C89A5AB68}"/>
              </a:ext>
            </a:extLst>
          </p:cNvPr>
          <p:cNvSpPr>
            <a:spLocks noGrp="1"/>
          </p:cNvSpPr>
          <p:nvPr>
            <p:ph type="dt" sz="half" idx="10"/>
          </p:nvPr>
        </p:nvSpPr>
        <p:spPr/>
        <p:txBody>
          <a:bodyPr/>
          <a:lstStyle/>
          <a:p>
            <a:fld id="{96DFF08F-DC6B-4601-B491-B0F83F6DD2DA}" type="datetimeFigureOut">
              <a:rPr lang="en-US" smtClean="0"/>
              <a:t>8/29/2023</a:t>
            </a:fld>
            <a:endParaRPr lang="en-US" dirty="0"/>
          </a:p>
        </p:txBody>
      </p:sp>
      <p:sp>
        <p:nvSpPr>
          <p:cNvPr id="6" name="Espace réservé du pied de page 5">
            <a:extLst>
              <a:ext uri="{FF2B5EF4-FFF2-40B4-BE49-F238E27FC236}">
                <a16:creationId xmlns:a16="http://schemas.microsoft.com/office/drawing/2014/main" id="{6F28334F-0DD8-D8C3-FB34-26CAA51462AF}"/>
              </a:ext>
            </a:extLst>
          </p:cNvPr>
          <p:cNvSpPr>
            <a:spLocks noGrp="1"/>
          </p:cNvSpPr>
          <p:nvPr>
            <p:ph type="ftr" sz="quarter" idx="11"/>
          </p:nvPr>
        </p:nvSpPr>
        <p:spPr/>
        <p:txBody>
          <a:bodyPr/>
          <a:lstStyle/>
          <a:p>
            <a:endParaRPr lang="en-US" dirty="0"/>
          </a:p>
        </p:txBody>
      </p:sp>
      <p:sp>
        <p:nvSpPr>
          <p:cNvPr id="7" name="Espace réservé du numéro de diapositive 6">
            <a:extLst>
              <a:ext uri="{FF2B5EF4-FFF2-40B4-BE49-F238E27FC236}">
                <a16:creationId xmlns:a16="http://schemas.microsoft.com/office/drawing/2014/main" id="{DC31A70D-6AB4-2EEF-A339-6B83898BDA70}"/>
              </a:ext>
            </a:extLst>
          </p:cNvPr>
          <p:cNvSpPr>
            <a:spLocks noGrp="1"/>
          </p:cNvSpPr>
          <p:nvPr>
            <p:ph type="sldNum" sz="quarter" idx="12"/>
          </p:nvPr>
        </p:nvSpPr>
        <p:spPr/>
        <p:txBody>
          <a:bodyPr/>
          <a:lstStyle/>
          <a:p>
            <a:fld id="{4FAB73BC-B049-4115-A692-8D63A059BFB8}" type="slidenum">
              <a:rPr lang="en-US" smtClean="0"/>
              <a:t>‹N°›</a:t>
            </a:fld>
            <a:endParaRPr lang="en-US" dirty="0"/>
          </a:p>
        </p:txBody>
      </p:sp>
    </p:spTree>
    <p:extLst>
      <p:ext uri="{BB962C8B-B14F-4D97-AF65-F5344CB8AC3E}">
        <p14:creationId xmlns:p14="http://schemas.microsoft.com/office/powerpoint/2010/main" val="1244324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B2A3134-9176-406C-A286-B1AE01920815}"/>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7AA87A05-EF58-262C-A4A4-EB58D6F6B0B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A66064FA-8CFE-F6B4-B40A-5670221C91C8}"/>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090DC696-3ECF-C215-17F7-AA86419A336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FFCCDF20-63FF-8E04-1B4C-3B2D6D902FD5}"/>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464054E9-B8F8-A5BE-612D-7B61399895FC}"/>
              </a:ext>
            </a:extLst>
          </p:cNvPr>
          <p:cNvSpPr>
            <a:spLocks noGrp="1"/>
          </p:cNvSpPr>
          <p:nvPr>
            <p:ph type="dt" sz="half" idx="10"/>
          </p:nvPr>
        </p:nvSpPr>
        <p:spPr/>
        <p:txBody>
          <a:bodyPr/>
          <a:lstStyle/>
          <a:p>
            <a:fld id="{96DFF08F-DC6B-4601-B491-B0F83F6DD2DA}" type="datetimeFigureOut">
              <a:rPr lang="en-US" smtClean="0"/>
              <a:t>8/29/2023</a:t>
            </a:fld>
            <a:endParaRPr lang="en-US" dirty="0"/>
          </a:p>
        </p:txBody>
      </p:sp>
      <p:sp>
        <p:nvSpPr>
          <p:cNvPr id="8" name="Espace réservé du pied de page 7">
            <a:extLst>
              <a:ext uri="{FF2B5EF4-FFF2-40B4-BE49-F238E27FC236}">
                <a16:creationId xmlns:a16="http://schemas.microsoft.com/office/drawing/2014/main" id="{C8DE711A-DC08-48DE-726E-D499C0D8AE3E}"/>
              </a:ext>
            </a:extLst>
          </p:cNvPr>
          <p:cNvSpPr>
            <a:spLocks noGrp="1"/>
          </p:cNvSpPr>
          <p:nvPr>
            <p:ph type="ftr" sz="quarter" idx="11"/>
          </p:nvPr>
        </p:nvSpPr>
        <p:spPr/>
        <p:txBody>
          <a:bodyPr/>
          <a:lstStyle/>
          <a:p>
            <a:endParaRPr lang="en-US" dirty="0"/>
          </a:p>
        </p:txBody>
      </p:sp>
      <p:sp>
        <p:nvSpPr>
          <p:cNvPr id="9" name="Espace réservé du numéro de diapositive 8">
            <a:extLst>
              <a:ext uri="{FF2B5EF4-FFF2-40B4-BE49-F238E27FC236}">
                <a16:creationId xmlns:a16="http://schemas.microsoft.com/office/drawing/2014/main" id="{D60CCCC7-A2A4-18BB-CD54-E92A4B8F0CC1}"/>
              </a:ext>
            </a:extLst>
          </p:cNvPr>
          <p:cNvSpPr>
            <a:spLocks noGrp="1"/>
          </p:cNvSpPr>
          <p:nvPr>
            <p:ph type="sldNum" sz="quarter" idx="12"/>
          </p:nvPr>
        </p:nvSpPr>
        <p:spPr/>
        <p:txBody>
          <a:bodyPr/>
          <a:lstStyle/>
          <a:p>
            <a:fld id="{4FAB73BC-B049-4115-A692-8D63A059BFB8}" type="slidenum">
              <a:rPr lang="en-US" smtClean="0"/>
              <a:t>‹N°›</a:t>
            </a:fld>
            <a:endParaRPr lang="en-US" dirty="0"/>
          </a:p>
        </p:txBody>
      </p:sp>
    </p:spTree>
    <p:extLst>
      <p:ext uri="{BB962C8B-B14F-4D97-AF65-F5344CB8AC3E}">
        <p14:creationId xmlns:p14="http://schemas.microsoft.com/office/powerpoint/2010/main" val="4199652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5F29BB-EC17-A7A7-DBED-138D81B781AB}"/>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BC022F56-546A-326D-0DB5-8609107F9456}"/>
              </a:ext>
            </a:extLst>
          </p:cNvPr>
          <p:cNvSpPr>
            <a:spLocks noGrp="1"/>
          </p:cNvSpPr>
          <p:nvPr>
            <p:ph type="dt" sz="half" idx="10"/>
          </p:nvPr>
        </p:nvSpPr>
        <p:spPr/>
        <p:txBody>
          <a:bodyPr/>
          <a:lstStyle/>
          <a:p>
            <a:fld id="{96DFF08F-DC6B-4601-B491-B0F83F6DD2DA}" type="datetimeFigureOut">
              <a:rPr lang="en-US" smtClean="0"/>
              <a:t>8/29/2023</a:t>
            </a:fld>
            <a:endParaRPr lang="en-US" dirty="0"/>
          </a:p>
        </p:txBody>
      </p:sp>
      <p:sp>
        <p:nvSpPr>
          <p:cNvPr id="4" name="Espace réservé du pied de page 3">
            <a:extLst>
              <a:ext uri="{FF2B5EF4-FFF2-40B4-BE49-F238E27FC236}">
                <a16:creationId xmlns:a16="http://schemas.microsoft.com/office/drawing/2014/main" id="{50705491-E6FA-B365-1C3F-B48C3EC2CBCD}"/>
              </a:ext>
            </a:extLst>
          </p:cNvPr>
          <p:cNvSpPr>
            <a:spLocks noGrp="1"/>
          </p:cNvSpPr>
          <p:nvPr>
            <p:ph type="ftr" sz="quarter" idx="11"/>
          </p:nvPr>
        </p:nvSpPr>
        <p:spPr/>
        <p:txBody>
          <a:bodyPr/>
          <a:lstStyle/>
          <a:p>
            <a:endParaRPr lang="en-US" dirty="0"/>
          </a:p>
        </p:txBody>
      </p:sp>
      <p:sp>
        <p:nvSpPr>
          <p:cNvPr id="5" name="Espace réservé du numéro de diapositive 4">
            <a:extLst>
              <a:ext uri="{FF2B5EF4-FFF2-40B4-BE49-F238E27FC236}">
                <a16:creationId xmlns:a16="http://schemas.microsoft.com/office/drawing/2014/main" id="{CA9381B9-68DE-F5EF-65E2-43EEC8D528B2}"/>
              </a:ext>
            </a:extLst>
          </p:cNvPr>
          <p:cNvSpPr>
            <a:spLocks noGrp="1"/>
          </p:cNvSpPr>
          <p:nvPr>
            <p:ph type="sldNum" sz="quarter" idx="12"/>
          </p:nvPr>
        </p:nvSpPr>
        <p:spPr/>
        <p:txBody>
          <a:bodyPr/>
          <a:lstStyle/>
          <a:p>
            <a:fld id="{4FAB73BC-B049-4115-A692-8D63A059BFB8}" type="slidenum">
              <a:rPr lang="en-US" smtClean="0"/>
              <a:t>‹N°›</a:t>
            </a:fld>
            <a:endParaRPr lang="en-US" dirty="0"/>
          </a:p>
        </p:txBody>
      </p:sp>
    </p:spTree>
    <p:extLst>
      <p:ext uri="{BB962C8B-B14F-4D97-AF65-F5344CB8AC3E}">
        <p14:creationId xmlns:p14="http://schemas.microsoft.com/office/powerpoint/2010/main" val="36273410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E4516182-D27D-21F3-922D-40237ED6E06D}"/>
              </a:ext>
            </a:extLst>
          </p:cNvPr>
          <p:cNvSpPr>
            <a:spLocks noGrp="1"/>
          </p:cNvSpPr>
          <p:nvPr>
            <p:ph type="dt" sz="half" idx="10"/>
          </p:nvPr>
        </p:nvSpPr>
        <p:spPr/>
        <p:txBody>
          <a:bodyPr/>
          <a:lstStyle/>
          <a:p>
            <a:fld id="{96DFF08F-DC6B-4601-B491-B0F83F6DD2DA}" type="datetimeFigureOut">
              <a:rPr lang="en-US" smtClean="0"/>
              <a:pPr/>
              <a:t>8/29/2023</a:t>
            </a:fld>
            <a:endParaRPr lang="en-US" dirty="0"/>
          </a:p>
        </p:txBody>
      </p:sp>
      <p:sp>
        <p:nvSpPr>
          <p:cNvPr id="3" name="Espace réservé du pied de page 2">
            <a:extLst>
              <a:ext uri="{FF2B5EF4-FFF2-40B4-BE49-F238E27FC236}">
                <a16:creationId xmlns:a16="http://schemas.microsoft.com/office/drawing/2014/main" id="{1721584B-FC0C-F6AE-7FC8-86A3A467F71C}"/>
              </a:ext>
            </a:extLst>
          </p:cNvPr>
          <p:cNvSpPr>
            <a:spLocks noGrp="1"/>
          </p:cNvSpPr>
          <p:nvPr>
            <p:ph type="ftr" sz="quarter" idx="11"/>
          </p:nvPr>
        </p:nvSpPr>
        <p:spPr/>
        <p:txBody>
          <a:bodyPr/>
          <a:lstStyle/>
          <a:p>
            <a:endParaRPr lang="en-US" dirty="0"/>
          </a:p>
        </p:txBody>
      </p:sp>
      <p:sp>
        <p:nvSpPr>
          <p:cNvPr id="4" name="Espace réservé du numéro de diapositive 3">
            <a:extLst>
              <a:ext uri="{FF2B5EF4-FFF2-40B4-BE49-F238E27FC236}">
                <a16:creationId xmlns:a16="http://schemas.microsoft.com/office/drawing/2014/main" id="{8C67FCA1-2CC9-D701-AAEB-EC200EAA1661}"/>
              </a:ext>
            </a:extLst>
          </p:cNvPr>
          <p:cNvSpPr>
            <a:spLocks noGrp="1"/>
          </p:cNvSpPr>
          <p:nvPr>
            <p:ph type="sldNum" sz="quarter" idx="12"/>
          </p:nvPr>
        </p:nvSpPr>
        <p:spPr/>
        <p:txBody>
          <a:bodyPr/>
          <a:lstStyle/>
          <a:p>
            <a:fld id="{4FAB73BC-B049-4115-A692-8D63A059BFB8}" type="slidenum">
              <a:rPr lang="en-US" smtClean="0"/>
              <a:pPr/>
              <a:t>‹N°›</a:t>
            </a:fld>
            <a:endParaRPr lang="en-US" dirty="0"/>
          </a:p>
        </p:txBody>
      </p:sp>
    </p:spTree>
    <p:extLst>
      <p:ext uri="{BB962C8B-B14F-4D97-AF65-F5344CB8AC3E}">
        <p14:creationId xmlns:p14="http://schemas.microsoft.com/office/powerpoint/2010/main" val="4763060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555F8C-0A4E-F264-3FEE-AF6B38BB0F35}"/>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26765545-B88C-0DEE-61D3-604897E0A7E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F60BC8E0-C50E-B881-31C1-5080D160BC5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0221E242-D31E-73CB-BC21-2AC3F86E42B8}"/>
              </a:ext>
            </a:extLst>
          </p:cNvPr>
          <p:cNvSpPr>
            <a:spLocks noGrp="1"/>
          </p:cNvSpPr>
          <p:nvPr>
            <p:ph type="dt" sz="half" idx="10"/>
          </p:nvPr>
        </p:nvSpPr>
        <p:spPr/>
        <p:txBody>
          <a:bodyPr/>
          <a:lstStyle/>
          <a:p>
            <a:fld id="{96DFF08F-DC6B-4601-B491-B0F83F6DD2DA}" type="datetimeFigureOut">
              <a:rPr lang="en-US" smtClean="0"/>
              <a:pPr/>
              <a:t>8/29/2023</a:t>
            </a:fld>
            <a:endParaRPr lang="en-US" dirty="0"/>
          </a:p>
        </p:txBody>
      </p:sp>
      <p:sp>
        <p:nvSpPr>
          <p:cNvPr id="6" name="Espace réservé du pied de page 5">
            <a:extLst>
              <a:ext uri="{FF2B5EF4-FFF2-40B4-BE49-F238E27FC236}">
                <a16:creationId xmlns:a16="http://schemas.microsoft.com/office/drawing/2014/main" id="{10D75D36-A20D-C8C6-5E7B-9EC91712A8D3}"/>
              </a:ext>
            </a:extLst>
          </p:cNvPr>
          <p:cNvSpPr>
            <a:spLocks noGrp="1"/>
          </p:cNvSpPr>
          <p:nvPr>
            <p:ph type="ftr" sz="quarter" idx="11"/>
          </p:nvPr>
        </p:nvSpPr>
        <p:spPr/>
        <p:txBody>
          <a:bodyPr/>
          <a:lstStyle/>
          <a:p>
            <a:endParaRPr lang="en-US" dirty="0"/>
          </a:p>
        </p:txBody>
      </p:sp>
      <p:sp>
        <p:nvSpPr>
          <p:cNvPr id="7" name="Espace réservé du numéro de diapositive 6">
            <a:extLst>
              <a:ext uri="{FF2B5EF4-FFF2-40B4-BE49-F238E27FC236}">
                <a16:creationId xmlns:a16="http://schemas.microsoft.com/office/drawing/2014/main" id="{9852AA96-7EFB-5300-38A2-DAFBC87B2261}"/>
              </a:ext>
            </a:extLst>
          </p:cNvPr>
          <p:cNvSpPr>
            <a:spLocks noGrp="1"/>
          </p:cNvSpPr>
          <p:nvPr>
            <p:ph type="sldNum" sz="quarter" idx="12"/>
          </p:nvPr>
        </p:nvSpPr>
        <p:spPr/>
        <p:txBody>
          <a:bodyPr/>
          <a:lstStyle/>
          <a:p>
            <a:fld id="{4FAB73BC-B049-4115-A692-8D63A059BFB8}" type="slidenum">
              <a:rPr lang="en-US" smtClean="0"/>
              <a:pPr/>
              <a:t>‹N°›</a:t>
            </a:fld>
            <a:endParaRPr lang="en-US" dirty="0"/>
          </a:p>
        </p:txBody>
      </p:sp>
    </p:spTree>
    <p:extLst>
      <p:ext uri="{BB962C8B-B14F-4D97-AF65-F5344CB8AC3E}">
        <p14:creationId xmlns:p14="http://schemas.microsoft.com/office/powerpoint/2010/main" val="18581382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AB2164-B312-6680-BBB7-DFA3297002AD}"/>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33B0D22B-D163-0DFC-6817-730A37E6CEB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F24482A7-C57C-15F9-CCAE-CC76FCA7F0A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106DE6D6-89FE-79A8-820F-5D5C7FAE194E}"/>
              </a:ext>
            </a:extLst>
          </p:cNvPr>
          <p:cNvSpPr>
            <a:spLocks noGrp="1"/>
          </p:cNvSpPr>
          <p:nvPr>
            <p:ph type="dt" sz="half" idx="10"/>
          </p:nvPr>
        </p:nvSpPr>
        <p:spPr/>
        <p:txBody>
          <a:bodyPr/>
          <a:lstStyle/>
          <a:p>
            <a:fld id="{96DFF08F-DC6B-4601-B491-B0F83F6DD2DA}" type="datetimeFigureOut">
              <a:rPr lang="en-US" smtClean="0"/>
              <a:t>8/29/2023</a:t>
            </a:fld>
            <a:endParaRPr lang="en-US" dirty="0"/>
          </a:p>
        </p:txBody>
      </p:sp>
      <p:sp>
        <p:nvSpPr>
          <p:cNvPr id="6" name="Espace réservé du pied de page 5">
            <a:extLst>
              <a:ext uri="{FF2B5EF4-FFF2-40B4-BE49-F238E27FC236}">
                <a16:creationId xmlns:a16="http://schemas.microsoft.com/office/drawing/2014/main" id="{876A0E3B-2FE3-1B28-CFAF-B3216D86A1C6}"/>
              </a:ext>
            </a:extLst>
          </p:cNvPr>
          <p:cNvSpPr>
            <a:spLocks noGrp="1"/>
          </p:cNvSpPr>
          <p:nvPr>
            <p:ph type="ftr" sz="quarter" idx="11"/>
          </p:nvPr>
        </p:nvSpPr>
        <p:spPr/>
        <p:txBody>
          <a:bodyPr/>
          <a:lstStyle/>
          <a:p>
            <a:endParaRPr lang="en-US" dirty="0"/>
          </a:p>
        </p:txBody>
      </p:sp>
      <p:sp>
        <p:nvSpPr>
          <p:cNvPr id="7" name="Espace réservé du numéro de diapositive 6">
            <a:extLst>
              <a:ext uri="{FF2B5EF4-FFF2-40B4-BE49-F238E27FC236}">
                <a16:creationId xmlns:a16="http://schemas.microsoft.com/office/drawing/2014/main" id="{156C59AB-1B5D-8A84-5AC9-07970874B498}"/>
              </a:ext>
            </a:extLst>
          </p:cNvPr>
          <p:cNvSpPr>
            <a:spLocks noGrp="1"/>
          </p:cNvSpPr>
          <p:nvPr>
            <p:ph type="sldNum" sz="quarter" idx="12"/>
          </p:nvPr>
        </p:nvSpPr>
        <p:spPr/>
        <p:txBody>
          <a:bodyPr/>
          <a:lstStyle/>
          <a:p>
            <a:fld id="{4FAB73BC-B049-4115-A692-8D63A059BFB8}" type="slidenum">
              <a:rPr lang="en-US" smtClean="0"/>
              <a:t>‹N°›</a:t>
            </a:fld>
            <a:endParaRPr lang="en-US" dirty="0"/>
          </a:p>
        </p:txBody>
      </p:sp>
    </p:spTree>
    <p:extLst>
      <p:ext uri="{BB962C8B-B14F-4D97-AF65-F5344CB8AC3E}">
        <p14:creationId xmlns:p14="http://schemas.microsoft.com/office/powerpoint/2010/main" val="19235463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D96A670-B3A1-6249-EC21-D3A5692B0230}"/>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100A2158-80B1-B2C3-3EEA-61334F0F50A4}"/>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8C3C7979-4B9A-71DB-AA02-3A37183CB7DF}"/>
              </a:ext>
            </a:extLst>
          </p:cNvPr>
          <p:cNvSpPr>
            <a:spLocks noGrp="1"/>
          </p:cNvSpPr>
          <p:nvPr>
            <p:ph type="dt" sz="half" idx="10"/>
          </p:nvPr>
        </p:nvSpPr>
        <p:spPr/>
        <p:txBody>
          <a:bodyPr/>
          <a:lstStyle/>
          <a:p>
            <a:fld id="{96DFF08F-DC6B-4601-B491-B0F83F6DD2DA}" type="datetimeFigureOut">
              <a:rPr lang="en-US" smtClean="0"/>
              <a:t>8/29/2023</a:t>
            </a:fld>
            <a:endParaRPr lang="en-US" dirty="0"/>
          </a:p>
        </p:txBody>
      </p:sp>
      <p:sp>
        <p:nvSpPr>
          <p:cNvPr id="5" name="Espace réservé du pied de page 4">
            <a:extLst>
              <a:ext uri="{FF2B5EF4-FFF2-40B4-BE49-F238E27FC236}">
                <a16:creationId xmlns:a16="http://schemas.microsoft.com/office/drawing/2014/main" id="{6A612928-0C83-0F0C-0525-99CABAC98F6D}"/>
              </a:ext>
            </a:extLst>
          </p:cNvPr>
          <p:cNvSpPr>
            <a:spLocks noGrp="1"/>
          </p:cNvSpPr>
          <p:nvPr>
            <p:ph type="ftr" sz="quarter" idx="11"/>
          </p:nvPr>
        </p:nvSpPr>
        <p:spPr/>
        <p:txBody>
          <a:bodyPr/>
          <a:lstStyle/>
          <a:p>
            <a:endParaRPr lang="en-US" dirty="0"/>
          </a:p>
        </p:txBody>
      </p:sp>
      <p:sp>
        <p:nvSpPr>
          <p:cNvPr id="6" name="Espace réservé du numéro de diapositive 5">
            <a:extLst>
              <a:ext uri="{FF2B5EF4-FFF2-40B4-BE49-F238E27FC236}">
                <a16:creationId xmlns:a16="http://schemas.microsoft.com/office/drawing/2014/main" id="{9B9872A9-6B8E-6837-4BE7-1A9FD1728777}"/>
              </a:ext>
            </a:extLst>
          </p:cNvPr>
          <p:cNvSpPr>
            <a:spLocks noGrp="1"/>
          </p:cNvSpPr>
          <p:nvPr>
            <p:ph type="sldNum" sz="quarter" idx="12"/>
          </p:nvPr>
        </p:nvSpPr>
        <p:spPr/>
        <p:txBody>
          <a:bodyPr/>
          <a:lstStyle/>
          <a:p>
            <a:fld id="{4FAB73BC-B049-4115-A692-8D63A059BFB8}" type="slidenum">
              <a:rPr lang="en-US" smtClean="0"/>
              <a:t>‹N°›</a:t>
            </a:fld>
            <a:endParaRPr lang="en-US" dirty="0"/>
          </a:p>
        </p:txBody>
      </p:sp>
    </p:spTree>
    <p:extLst>
      <p:ext uri="{BB962C8B-B14F-4D97-AF65-F5344CB8AC3E}">
        <p14:creationId xmlns:p14="http://schemas.microsoft.com/office/powerpoint/2010/main" val="27214702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FB972D2B-3920-0603-39AE-994E647E34CC}"/>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13C7980C-AF73-3B5B-7AD3-62E48DC14928}"/>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FF33D47F-7368-20B5-A4C1-75625300DA0A}"/>
              </a:ext>
            </a:extLst>
          </p:cNvPr>
          <p:cNvSpPr>
            <a:spLocks noGrp="1"/>
          </p:cNvSpPr>
          <p:nvPr>
            <p:ph type="dt" sz="half" idx="10"/>
          </p:nvPr>
        </p:nvSpPr>
        <p:spPr/>
        <p:txBody>
          <a:bodyPr/>
          <a:lstStyle/>
          <a:p>
            <a:fld id="{96DFF08F-DC6B-4601-B491-B0F83F6DD2DA}" type="datetimeFigureOut">
              <a:rPr lang="en-US" smtClean="0"/>
              <a:t>8/29/2023</a:t>
            </a:fld>
            <a:endParaRPr lang="en-US" dirty="0"/>
          </a:p>
        </p:txBody>
      </p:sp>
      <p:sp>
        <p:nvSpPr>
          <p:cNvPr id="5" name="Espace réservé du pied de page 4">
            <a:extLst>
              <a:ext uri="{FF2B5EF4-FFF2-40B4-BE49-F238E27FC236}">
                <a16:creationId xmlns:a16="http://schemas.microsoft.com/office/drawing/2014/main" id="{ED8320D0-455F-7AF2-37D7-918BBADDCAD4}"/>
              </a:ext>
            </a:extLst>
          </p:cNvPr>
          <p:cNvSpPr>
            <a:spLocks noGrp="1"/>
          </p:cNvSpPr>
          <p:nvPr>
            <p:ph type="ftr" sz="quarter" idx="11"/>
          </p:nvPr>
        </p:nvSpPr>
        <p:spPr/>
        <p:txBody>
          <a:bodyPr/>
          <a:lstStyle/>
          <a:p>
            <a:endParaRPr lang="en-US" dirty="0"/>
          </a:p>
        </p:txBody>
      </p:sp>
      <p:sp>
        <p:nvSpPr>
          <p:cNvPr id="6" name="Espace réservé du numéro de diapositive 5">
            <a:extLst>
              <a:ext uri="{FF2B5EF4-FFF2-40B4-BE49-F238E27FC236}">
                <a16:creationId xmlns:a16="http://schemas.microsoft.com/office/drawing/2014/main" id="{00D25069-E683-2C5B-D273-33C3179A8A21}"/>
              </a:ext>
            </a:extLst>
          </p:cNvPr>
          <p:cNvSpPr>
            <a:spLocks noGrp="1"/>
          </p:cNvSpPr>
          <p:nvPr>
            <p:ph type="sldNum" sz="quarter" idx="12"/>
          </p:nvPr>
        </p:nvSpPr>
        <p:spPr/>
        <p:txBody>
          <a:bodyPr/>
          <a:lstStyle/>
          <a:p>
            <a:fld id="{4FAB73BC-B049-4115-A692-8D63A059BFB8}" type="slidenum">
              <a:rPr lang="en-US" smtClean="0"/>
              <a:t>‹N°›</a:t>
            </a:fld>
            <a:endParaRPr lang="en-US" dirty="0"/>
          </a:p>
        </p:txBody>
      </p:sp>
    </p:spTree>
    <p:extLst>
      <p:ext uri="{BB962C8B-B14F-4D97-AF65-F5344CB8AC3E}">
        <p14:creationId xmlns:p14="http://schemas.microsoft.com/office/powerpoint/2010/main" val="27708434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ontent: On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402" y="1402"/>
          <a:ext cx="1400" cy="1400"/>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4" name="Object 3" hidden="1"/>
                      <p:cNvPicPr/>
                      <p:nvPr/>
                    </p:nvPicPr>
                    <p:blipFill>
                      <a:blip r:embed="rId15"/>
                      <a:stretch>
                        <a:fillRect/>
                      </a:stretch>
                    </p:blipFill>
                    <p:spPr>
                      <a:xfrm>
                        <a:off x="1402" y="1402"/>
                        <a:ext cx="1400" cy="1400"/>
                      </a:xfrm>
                      <a:prstGeom prst="rect">
                        <a:avLst/>
                      </a:prstGeom>
                    </p:spPr>
                  </p:pic>
                </p:oleObj>
              </mc:Fallback>
            </mc:AlternateContent>
          </a:graphicData>
        </a:graphic>
      </p:graphicFrame>
      <p:sp>
        <p:nvSpPr>
          <p:cNvPr id="34" name="Content Placeholder 2"/>
          <p:cNvSpPr>
            <a:spLocks noGrp="1"/>
          </p:cNvSpPr>
          <p:nvPr>
            <p:ph sz="quarter" idx="24"/>
            <p:custDataLst>
              <p:tags r:id="rId2"/>
            </p:custDataLst>
          </p:nvPr>
        </p:nvSpPr>
        <p:spPr>
          <a:xfrm>
            <a:off x="590911" y="1815353"/>
            <a:ext cx="10948595" cy="4308438"/>
          </a:xfrm>
        </p:spPr>
        <p:txBody>
          <a:bodyPr tIns="0" bIns="0"/>
          <a:lstStyle>
            <a:lvl1pPr>
              <a:defRPr sz="1412"/>
            </a:lvl1pPr>
            <a:lvl2pPr>
              <a:defRPr sz="1412"/>
            </a:lvl2pPr>
            <a:lvl3pPr>
              <a:defRPr sz="1412"/>
            </a:lvl3pPr>
            <a:lvl4pPr>
              <a:defRPr sz="1412"/>
            </a:lvl4pPr>
            <a:lvl5pPr>
              <a:defRPr sz="1412"/>
            </a:lvl5pPr>
            <a:lvl6pPr>
              <a:defRPr sz="1412" baseline="0"/>
            </a:lvl6pPr>
            <a:lvl7pPr>
              <a:buAutoNum type="alphaLcPeriod"/>
              <a:defRPr sz="1412"/>
            </a:lvl7pPr>
            <a:lvl8pPr>
              <a:buAutoNum type="romanLcPeriod"/>
              <a:defRPr sz="1412"/>
            </a:lvl8pPr>
            <a:lvl9pPr>
              <a:defRPr sz="1412"/>
            </a:lvl9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1" name="Date/Filepath" hidden="1"/>
          <p:cNvSpPr txBox="1"/>
          <p:nvPr userDrawn="1">
            <p:custDataLst>
              <p:tags r:id="rId3"/>
            </p:custDataLst>
          </p:nvPr>
        </p:nvSpPr>
        <p:spPr>
          <a:xfrm>
            <a:off x="3999351" y="267427"/>
            <a:ext cx="7536873" cy="122213"/>
          </a:xfrm>
          <a:prstGeom prst="rect">
            <a:avLst/>
          </a:prstGeom>
          <a:noFill/>
        </p:spPr>
        <p:txBody>
          <a:bodyPr wrap="square" lIns="0" tIns="0" rIns="0" bIns="0" rtlCol="0" anchor="b" anchorCtr="0">
            <a:spAutoFit/>
          </a:bodyPr>
          <a:lstStyle/>
          <a:p>
            <a:pPr algn="r"/>
            <a:r>
              <a:rPr lang="en-GB" sz="794" noProof="1"/>
              <a:t>07.12.2018 C:\Users\ddv\Documents\3_BizDev SPORTS\0_Sport Business Advisory\Conferences and events\Dubai Summit 2018\PwC Sports Survey 2018 PRESENTATION_dubai.pptx</a:t>
            </a:r>
          </a:p>
        </p:txBody>
      </p:sp>
      <p:sp>
        <p:nvSpPr>
          <p:cNvPr id="19" name="Slide Tags" hidden="1"/>
          <p:cNvSpPr txBox="1"/>
          <p:nvPr userDrawn="1">
            <p:custDataLst>
              <p:tags r:id="rId4"/>
            </p:custDataLst>
          </p:nvPr>
        </p:nvSpPr>
        <p:spPr>
          <a:xfrm>
            <a:off x="0" y="201706"/>
            <a:ext cx="1939637" cy="241733"/>
          </a:xfrm>
          <a:prstGeom prst="rect">
            <a:avLst/>
          </a:prstGeom>
          <a:noFill/>
        </p:spPr>
        <p:txBody>
          <a:bodyPr wrap="square" rtlCol="0">
            <a:spAutoFit/>
          </a:bodyPr>
          <a:lstStyle/>
          <a:p>
            <a:r>
              <a:rPr lang="en-GB" sz="971" noProof="1"/>
              <a:t>Slide Tags</a:t>
            </a:r>
          </a:p>
        </p:txBody>
      </p:sp>
      <p:sp>
        <p:nvSpPr>
          <p:cNvPr id="30" name="HeaderTOCPlaceholder"/>
          <p:cNvSpPr txBox="1"/>
          <p:nvPr userDrawn="1">
            <p:custDataLst>
              <p:tags r:id="rId5"/>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32" name="Section Header"/>
          <p:cNvSpPr txBox="1"/>
          <p:nvPr userDrawn="1">
            <p:custDataLst>
              <p:tags r:id="rId6"/>
            </p:custDataLst>
          </p:nvPr>
        </p:nvSpPr>
        <p:spPr>
          <a:xfrm>
            <a:off x="590911" y="621254"/>
            <a:ext cx="3695552" cy="121024"/>
          </a:xfrm>
          <a:prstGeom prst="rect">
            <a:avLst/>
          </a:prstGeom>
          <a:noFill/>
        </p:spPr>
        <p:txBody>
          <a:bodyPr wrap="square" lIns="0" tIns="0" rIns="0" bIns="0" rtlCol="0" anchor="b" anchorCtr="0">
            <a:noAutofit/>
          </a:bodyPr>
          <a:lstStyle/>
          <a:p>
            <a:endParaRPr lang="en-GB" sz="794" noProof="1">
              <a:solidFill>
                <a:schemeClr val="tx1"/>
              </a:solidFill>
            </a:endParaRPr>
          </a:p>
        </p:txBody>
      </p:sp>
      <p:cxnSp>
        <p:nvCxnSpPr>
          <p:cNvPr id="33" name="Frame Line"/>
          <p:cNvCxnSpPr/>
          <p:nvPr userDrawn="1"/>
        </p:nvCxnSpPr>
        <p:spPr>
          <a:xfrm flipV="1">
            <a:off x="461818" y="823408"/>
            <a:ext cx="1108363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Page Number"/>
          <p:cNvSpPr txBox="1"/>
          <p:nvPr userDrawn="1">
            <p:custDataLst>
              <p:tags r:id="rId7"/>
            </p:custDataLst>
          </p:nvPr>
        </p:nvSpPr>
        <p:spPr>
          <a:xfrm>
            <a:off x="11151579" y="6308261"/>
            <a:ext cx="387927" cy="122205"/>
          </a:xfrm>
          <a:prstGeom prst="rect">
            <a:avLst/>
          </a:prstGeom>
          <a:noFill/>
          <a:ln>
            <a:noFill/>
          </a:ln>
        </p:spPr>
        <p:txBody>
          <a:bodyPr wrap="square" lIns="0" tIns="0" rIns="0" bIns="0" rtlCol="0">
            <a:noAutofit/>
          </a:bodyPr>
          <a:lstStyle/>
          <a:p>
            <a:pPr algn="r"/>
            <a:endParaRPr lang="en-GB" sz="794" noProof="0" dirty="0">
              <a:solidFill>
                <a:schemeClr val="tx1"/>
              </a:solidFill>
              <a:latin typeface="+mn-lt"/>
              <a:cs typeface="Arial" pitchFamily="34" charset="0"/>
            </a:endParaRPr>
          </a:p>
        </p:txBody>
      </p:sp>
      <p:cxnSp>
        <p:nvCxnSpPr>
          <p:cNvPr id="39" name="Straight Connector 38"/>
          <p:cNvCxnSpPr/>
          <p:nvPr userDrawn="1"/>
        </p:nvCxnSpPr>
        <p:spPr>
          <a:xfrm>
            <a:off x="590911" y="6252882"/>
            <a:ext cx="1094859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PwC Text"/>
          <p:cNvSpPr txBox="1"/>
          <p:nvPr userDrawn="1"/>
        </p:nvSpPr>
        <p:spPr>
          <a:xfrm>
            <a:off x="589520" y="6439538"/>
            <a:ext cx="1121045" cy="122205"/>
          </a:xfrm>
          <a:prstGeom prst="rect">
            <a:avLst/>
          </a:prstGeom>
          <a:noFill/>
          <a:ln>
            <a:noFill/>
          </a:ln>
        </p:spPr>
        <p:txBody>
          <a:bodyPr wrap="none" lIns="0" tIns="0" rIns="0" bIns="0" rtlCol="0" anchor="t" anchorCtr="0">
            <a:noAutofit/>
          </a:bodyPr>
          <a:lstStyle/>
          <a:p>
            <a:r>
              <a:rPr lang="en-GB" sz="794" noProof="0" dirty="0">
                <a:solidFill>
                  <a:schemeClr val="tx1"/>
                </a:solidFill>
                <a:latin typeface="+mn-lt"/>
                <a:cs typeface="Arial" pitchFamily="34" charset="0"/>
              </a:rPr>
              <a:t>PwC</a:t>
            </a:r>
            <a:endParaRPr lang="en-GB" sz="794" baseline="30000" noProof="0" dirty="0">
              <a:solidFill>
                <a:schemeClr val="tx1"/>
              </a:solidFill>
              <a:latin typeface="+mn-lt"/>
              <a:cs typeface="Arial" pitchFamily="34" charset="0"/>
            </a:endParaRPr>
          </a:p>
        </p:txBody>
      </p:sp>
      <p:sp>
        <p:nvSpPr>
          <p:cNvPr id="17" name="Report Date"/>
          <p:cNvSpPr txBox="1"/>
          <p:nvPr userDrawn="1">
            <p:custDataLst>
              <p:tags r:id="rId8"/>
            </p:custDataLst>
          </p:nvPr>
        </p:nvSpPr>
        <p:spPr>
          <a:xfrm>
            <a:off x="10922349" y="6439538"/>
            <a:ext cx="617157" cy="122213"/>
          </a:xfrm>
          <a:prstGeom prst="rect">
            <a:avLst/>
          </a:prstGeom>
          <a:noFill/>
        </p:spPr>
        <p:txBody>
          <a:bodyPr wrap="none" lIns="0" tIns="0" rIns="0" bIns="0" rtlCol="0">
            <a:spAutoFit/>
          </a:bodyPr>
          <a:lstStyle/>
          <a:p>
            <a:pPr indent="-242060" algn="r">
              <a:spcAft>
                <a:spcPts val="794"/>
              </a:spcAft>
            </a:pPr>
            <a:r>
              <a:rPr lang="en-GB" sz="794" noProof="1">
                <a:latin typeface="+mn-lt"/>
              </a:rPr>
              <a:t>8 January 2019</a:t>
            </a:r>
          </a:p>
        </p:txBody>
      </p:sp>
      <p:sp>
        <p:nvSpPr>
          <p:cNvPr id="18" name="Page Number"/>
          <p:cNvSpPr txBox="1"/>
          <p:nvPr userDrawn="1">
            <p:custDataLst>
              <p:tags r:id="rId9"/>
            </p:custDataLst>
          </p:nvPr>
        </p:nvSpPr>
        <p:spPr>
          <a:xfrm>
            <a:off x="8555541" y="5717943"/>
            <a:ext cx="282388" cy="121024"/>
          </a:xfrm>
          <a:prstGeom prst="rect">
            <a:avLst/>
          </a:prstGeom>
          <a:noFill/>
        </p:spPr>
        <p:txBody>
          <a:bodyPr wrap="none" lIns="0" tIns="0" rIns="0" bIns="0" rtlCol="0">
            <a:noAutofit/>
          </a:bodyPr>
          <a:lstStyle/>
          <a:p>
            <a:pPr algn="r">
              <a:lnSpc>
                <a:spcPts val="882"/>
              </a:lnSpc>
            </a:pPr>
            <a:endParaRPr lang="en-GB" sz="794" noProof="1"/>
          </a:p>
        </p:txBody>
      </p:sp>
      <p:sp>
        <p:nvSpPr>
          <p:cNvPr id="22" name="Section Footer"/>
          <p:cNvSpPr txBox="1"/>
          <p:nvPr userDrawn="1">
            <p:custDataLst>
              <p:tags r:id="rId10"/>
            </p:custDataLst>
          </p:nvPr>
        </p:nvSpPr>
        <p:spPr>
          <a:xfrm>
            <a:off x="589520" y="6308253"/>
            <a:ext cx="2557631" cy="122213"/>
          </a:xfrm>
          <a:prstGeom prst="rect">
            <a:avLst/>
          </a:prstGeom>
          <a:noFill/>
          <a:ln>
            <a:noFill/>
          </a:ln>
        </p:spPr>
        <p:txBody>
          <a:bodyPr wrap="square" lIns="0" tIns="0" rIns="0" bIns="0" rtlCol="0" anchor="b" anchorCtr="0">
            <a:spAutoFit/>
          </a:bodyPr>
          <a:lstStyle/>
          <a:p>
            <a:endParaRPr lang="en-GB" sz="794" noProof="1">
              <a:solidFill>
                <a:schemeClr val="tx1"/>
              </a:solidFill>
            </a:endParaRPr>
          </a:p>
        </p:txBody>
      </p:sp>
      <p:sp>
        <p:nvSpPr>
          <p:cNvPr id="24" name="Presentation Disclaimer" hidden="1"/>
          <p:cNvSpPr txBox="1"/>
          <p:nvPr userDrawn="1">
            <p:custDataLst>
              <p:tags r:id="rId11"/>
            </p:custDataLst>
          </p:nvPr>
        </p:nvSpPr>
        <p:spPr>
          <a:xfrm>
            <a:off x="4344787" y="6308261"/>
            <a:ext cx="65" cy="122213"/>
          </a:xfrm>
          <a:prstGeom prst="rect">
            <a:avLst/>
          </a:prstGeom>
          <a:noFill/>
        </p:spPr>
        <p:txBody>
          <a:bodyPr wrap="none" lIns="0" tIns="0" rIns="0" bIns="0" rtlCol="0" anchor="t" anchorCtr="0">
            <a:spAutoFit/>
          </a:bodyPr>
          <a:lstStyle/>
          <a:p>
            <a:pPr algn="l"/>
            <a:endParaRPr lang="en-GB" sz="794" noProof="1"/>
          </a:p>
        </p:txBody>
      </p:sp>
      <p:sp>
        <p:nvSpPr>
          <p:cNvPr id="25" name="Draft stamp" hidden="1"/>
          <p:cNvSpPr txBox="1"/>
          <p:nvPr userDrawn="1">
            <p:custDataLst>
              <p:tags r:id="rId12"/>
            </p:custDataLst>
          </p:nvPr>
        </p:nvSpPr>
        <p:spPr>
          <a:xfrm>
            <a:off x="4344786" y="6439538"/>
            <a:ext cx="1879899" cy="122213"/>
          </a:xfrm>
          <a:prstGeom prst="rect">
            <a:avLst/>
          </a:prstGeom>
          <a:noFill/>
          <a:ln>
            <a:noFill/>
          </a:ln>
        </p:spPr>
        <p:txBody>
          <a:bodyPr wrap="square" lIns="0" tIns="0" rIns="0" bIns="0" rtlCol="0">
            <a:spAutoFit/>
          </a:bodyPr>
          <a:lstStyle/>
          <a:p>
            <a:pPr algn="l"/>
            <a:r>
              <a:rPr lang="en-GB" sz="794" noProof="1"/>
              <a:t>Draft</a:t>
            </a:r>
          </a:p>
        </p:txBody>
      </p:sp>
      <p:sp>
        <p:nvSpPr>
          <p:cNvPr id="20" name="Rectangle 19"/>
          <p:cNvSpPr/>
          <p:nvPr userDrawn="1"/>
        </p:nvSpPr>
        <p:spPr>
          <a:xfrm>
            <a:off x="2802" y="16392"/>
            <a:ext cx="12189199" cy="1669869"/>
          </a:xfrm>
          <a:prstGeom prst="rect">
            <a:avLst/>
          </a:prstGeom>
          <a:solidFill>
            <a:schemeClr val="bg1">
              <a:lumMod val="95000"/>
            </a:schemeClr>
          </a:solidFill>
          <a:ln w="6350">
            <a:noFill/>
          </a:ln>
        </p:spPr>
        <p:txBody>
          <a:bodyPr vert="horz" wrap="square" lIns="80682" tIns="40341" rIns="80682" bIns="40341" rtlCol="0" anchor="ctr">
            <a:noAutofit/>
          </a:bodyPr>
          <a:lstStyle/>
          <a:p>
            <a:pPr algn="ctr"/>
            <a:endParaRPr lang="en-GB" sz="1588" dirty="0"/>
          </a:p>
        </p:txBody>
      </p:sp>
      <p:sp>
        <p:nvSpPr>
          <p:cNvPr id="35" name="Banner Statement"/>
          <p:cNvSpPr>
            <a:spLocks noGrp="1"/>
          </p:cNvSpPr>
          <p:nvPr>
            <p:ph type="title" hasCustomPrompt="1"/>
          </p:nvPr>
        </p:nvSpPr>
        <p:spPr>
          <a:xfrm>
            <a:off x="590911" y="943984"/>
            <a:ext cx="10948595" cy="743294"/>
          </a:xfrm>
        </p:spPr>
        <p:txBody>
          <a:bodyPr vert="horz" lIns="0" tIns="0" rIns="0" bIns="0" rtlCol="0" anchor="t" anchorCtr="0">
            <a:noAutofit/>
          </a:bodyPr>
          <a:lstStyle>
            <a:lvl1pPr algn="l" defTabSz="899010" rtl="0" eaLnBrk="1" latinLnBrk="0" hangingPunct="1">
              <a:spcBef>
                <a:spcPct val="0"/>
              </a:spcBef>
              <a:buNone/>
              <a:defRPr lang="en-GB" sz="2647" b="1" i="1" kern="1200" baseline="0" noProof="0" dirty="0">
                <a:solidFill>
                  <a:schemeClr val="tx2"/>
                </a:solidFill>
                <a:latin typeface="+mj-lt"/>
                <a:ea typeface="+mj-ea"/>
                <a:cs typeface="+mj-cs"/>
              </a:defRPr>
            </a:lvl1pPr>
          </a:lstStyle>
          <a:p>
            <a:pPr lvl="0" algn="l" defTabSz="899010" rtl="0" eaLnBrk="1" latinLnBrk="0" hangingPunct="1">
              <a:spcBef>
                <a:spcPct val="0"/>
              </a:spcBef>
              <a:buNone/>
            </a:pPr>
            <a:r>
              <a:rPr lang="en-GB" noProof="0" dirty="0"/>
              <a:t>Insert banner statement here</a:t>
            </a:r>
            <a:endParaRPr lang="en-GB" dirty="0"/>
          </a:p>
        </p:txBody>
      </p:sp>
    </p:spTree>
    <p:extLst>
      <p:ext uri="{BB962C8B-B14F-4D97-AF65-F5344CB8AC3E}">
        <p14:creationId xmlns:p14="http://schemas.microsoft.com/office/powerpoint/2010/main" val="30075354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Page courante 2 colonnes texte">
    <p:spTree>
      <p:nvGrpSpPr>
        <p:cNvPr id="1" name=""/>
        <p:cNvGrpSpPr/>
        <p:nvPr/>
      </p:nvGrpSpPr>
      <p:grpSpPr>
        <a:xfrm>
          <a:off x="0" y="0"/>
          <a:ext cx="0" cy="0"/>
          <a:chOff x="0" y="0"/>
          <a:chExt cx="0" cy="0"/>
        </a:xfrm>
      </p:grpSpPr>
      <p:sp>
        <p:nvSpPr>
          <p:cNvPr id="6" name="Espace réservé du contenu 2"/>
          <p:cNvSpPr>
            <a:spLocks noGrp="1"/>
          </p:cNvSpPr>
          <p:nvPr>
            <p:ph idx="1"/>
          </p:nvPr>
        </p:nvSpPr>
        <p:spPr>
          <a:xfrm>
            <a:off x="6245661" y="1315123"/>
            <a:ext cx="5280000" cy="4679997"/>
          </a:xfrm>
          <a:prstGeom prst="rect">
            <a:avLst/>
          </a:prstGeom>
          <a:solidFill>
            <a:srgbClr val="F0F0F0"/>
          </a:solidFill>
        </p:spPr>
        <p:txBody>
          <a:bodyPr/>
          <a:lstStyle>
            <a:lvl1pPr marL="0" indent="0">
              <a:buClr>
                <a:srgbClr val="C85A19"/>
              </a:buClr>
              <a:buNone/>
              <a:defRPr sz="1400">
                <a:solidFill>
                  <a:srgbClr val="6E6E6E"/>
                </a:solidFill>
                <a:latin typeface="Arial"/>
                <a:cs typeface="Arial"/>
              </a:defRPr>
            </a:lvl1pPr>
            <a:lvl2pPr marL="447675" indent="-180975">
              <a:buClr>
                <a:srgbClr val="C85A19"/>
              </a:buClr>
              <a:buFont typeface="Arial" panose="020B0604020202020204" pitchFamily="34" charset="0"/>
              <a:buChar char="•"/>
              <a:defRPr sz="1400">
                <a:solidFill>
                  <a:srgbClr val="6E6E6E"/>
                </a:solidFill>
                <a:latin typeface="Arial"/>
                <a:cs typeface="Arial"/>
              </a:defRPr>
            </a:lvl2pPr>
            <a:lvl3pPr marL="447675" indent="-180975">
              <a:buClr>
                <a:srgbClr val="C85A19"/>
              </a:buClr>
              <a:defRPr sz="1200">
                <a:solidFill>
                  <a:srgbClr val="6E6E6E"/>
                </a:solidFill>
                <a:latin typeface="Arial"/>
                <a:cs typeface="Arial"/>
              </a:defRPr>
            </a:lvl3pPr>
            <a:lvl4pPr marL="447675" indent="-180975">
              <a:buClr>
                <a:srgbClr val="C85A19"/>
              </a:buClr>
              <a:buFont typeface="Arial" panose="020B0604020202020204" pitchFamily="34" charset="0"/>
              <a:buChar char="•"/>
              <a:defRPr sz="1200" i="1">
                <a:solidFill>
                  <a:srgbClr val="6E6E6E"/>
                </a:solidFill>
                <a:latin typeface="Arial"/>
                <a:cs typeface="Arial"/>
              </a:defRPr>
            </a:lvl4pPr>
            <a:lvl5pPr marL="809625" indent="-180975">
              <a:buClr>
                <a:srgbClr val="C85A19"/>
              </a:buClr>
              <a:buFont typeface="Courier New"/>
              <a:buChar char="o"/>
              <a:defRPr sz="1000">
                <a:solidFill>
                  <a:srgbClr val="6E6E6E"/>
                </a:solidFill>
                <a:latin typeface="Arial"/>
                <a:cs typeface="Arial"/>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u contenu 2"/>
          <p:cNvSpPr>
            <a:spLocks noGrp="1"/>
          </p:cNvSpPr>
          <p:nvPr>
            <p:ph idx="11"/>
          </p:nvPr>
        </p:nvSpPr>
        <p:spPr>
          <a:xfrm>
            <a:off x="569053" y="1315122"/>
            <a:ext cx="5280000" cy="4679997"/>
          </a:xfrm>
          <a:prstGeom prst="rect">
            <a:avLst/>
          </a:prstGeom>
        </p:spPr>
        <p:txBody>
          <a:bodyPr/>
          <a:lstStyle>
            <a:lvl1pPr marL="0" indent="0">
              <a:buClr>
                <a:srgbClr val="C85A19"/>
              </a:buClr>
              <a:buNone/>
              <a:defRPr sz="1400">
                <a:solidFill>
                  <a:srgbClr val="002857"/>
                </a:solidFill>
                <a:latin typeface="Arial"/>
                <a:cs typeface="Arial"/>
              </a:defRPr>
            </a:lvl1pPr>
            <a:lvl2pPr marL="447675" indent="-180975">
              <a:buClr>
                <a:srgbClr val="C85A19"/>
              </a:buClr>
              <a:buFont typeface="Arial" panose="020B0604020202020204" pitchFamily="34" charset="0"/>
              <a:buChar char="•"/>
              <a:defRPr sz="1400">
                <a:solidFill>
                  <a:srgbClr val="002857"/>
                </a:solidFill>
                <a:latin typeface="Arial"/>
                <a:cs typeface="Arial"/>
              </a:defRPr>
            </a:lvl2pPr>
            <a:lvl3pPr marL="447675" indent="-180975">
              <a:buClr>
                <a:srgbClr val="C85A19"/>
              </a:buClr>
              <a:defRPr sz="1200">
                <a:solidFill>
                  <a:srgbClr val="002857"/>
                </a:solidFill>
                <a:latin typeface="Arial"/>
                <a:cs typeface="Arial"/>
              </a:defRPr>
            </a:lvl3pPr>
            <a:lvl4pPr marL="447675" indent="-180975">
              <a:buClr>
                <a:srgbClr val="C85A19"/>
              </a:buClr>
              <a:buFont typeface="Arial" panose="020B0604020202020204" pitchFamily="34" charset="0"/>
              <a:buChar char="•"/>
              <a:defRPr sz="1200" i="1">
                <a:solidFill>
                  <a:srgbClr val="002857"/>
                </a:solidFill>
                <a:latin typeface="Arial"/>
                <a:cs typeface="Arial"/>
              </a:defRPr>
            </a:lvl4pPr>
            <a:lvl5pPr marL="809625" indent="-180975">
              <a:buClr>
                <a:srgbClr val="C85A19"/>
              </a:buClr>
              <a:buFont typeface="Courier New"/>
              <a:buChar char="o"/>
              <a:defRPr sz="1000">
                <a:solidFill>
                  <a:srgbClr val="002857"/>
                </a:solidFill>
                <a:latin typeface="Arial"/>
                <a:cs typeface="Arial"/>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9" name="Titre 1"/>
          <p:cNvSpPr>
            <a:spLocks noGrp="1"/>
          </p:cNvSpPr>
          <p:nvPr>
            <p:ph type="ctrTitle" hasCustomPrompt="1"/>
          </p:nvPr>
        </p:nvSpPr>
        <p:spPr>
          <a:xfrm>
            <a:off x="569053" y="350475"/>
            <a:ext cx="10664784" cy="408838"/>
          </a:xfrm>
          <a:prstGeom prst="rect">
            <a:avLst/>
          </a:prstGeom>
        </p:spPr>
        <p:txBody>
          <a:bodyPr>
            <a:normAutofit/>
          </a:bodyPr>
          <a:lstStyle>
            <a:lvl1pPr algn="l">
              <a:defRPr sz="2400" b="1" baseline="0">
                <a:solidFill>
                  <a:srgbClr val="002857"/>
                </a:solidFill>
                <a:latin typeface="Arial"/>
                <a:cs typeface="Arial"/>
              </a:defRPr>
            </a:lvl1pPr>
          </a:lstStyle>
          <a:p>
            <a:r>
              <a:rPr lang="fr-FR" dirty="0"/>
              <a:t>TITRE DE LA PAGE </a:t>
            </a:r>
          </a:p>
        </p:txBody>
      </p:sp>
      <p:sp>
        <p:nvSpPr>
          <p:cNvPr id="11" name="Sous-titre 2"/>
          <p:cNvSpPr>
            <a:spLocks noGrp="1"/>
          </p:cNvSpPr>
          <p:nvPr>
            <p:ph type="subTitle" idx="12" hasCustomPrompt="1"/>
          </p:nvPr>
        </p:nvSpPr>
        <p:spPr>
          <a:xfrm>
            <a:off x="569053" y="773119"/>
            <a:ext cx="10664784" cy="386563"/>
          </a:xfrm>
          <a:prstGeom prst="rect">
            <a:avLst/>
          </a:prstGeom>
        </p:spPr>
        <p:txBody>
          <a:bodyPr>
            <a:normAutofit/>
          </a:bodyPr>
          <a:lstStyle>
            <a:lvl1pPr marL="0" indent="0" algn="l">
              <a:buFont typeface="Arial"/>
              <a:buNone/>
              <a:defRPr sz="1800" b="1" baseline="0">
                <a:solidFill>
                  <a:srgbClr val="C85A19"/>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SOUS-TITRE DE LA PAGE</a:t>
            </a:r>
          </a:p>
        </p:txBody>
      </p:sp>
    </p:spTree>
    <p:extLst>
      <p:ext uri="{BB962C8B-B14F-4D97-AF65-F5344CB8AC3E}">
        <p14:creationId xmlns:p14="http://schemas.microsoft.com/office/powerpoint/2010/main" val="2454638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2058750"/>
            <a:ext cx="8915399" cy="1468800"/>
          </a:xfrm>
        </p:spPr>
        <p:txBody>
          <a:bodyPr anchor="b"/>
          <a:lstStyle>
            <a:lvl1pPr algn="l">
              <a:defRPr sz="4000" b="0" cap="none"/>
            </a:lvl1pPr>
          </a:lstStyle>
          <a:p>
            <a:r>
              <a:rPr lang="fr-FR"/>
              <a:t>Modifiez le style du titre</a:t>
            </a:r>
            <a:endParaRPr lang="en-US" dirty="0"/>
          </a:p>
        </p:txBody>
      </p:sp>
      <p:sp>
        <p:nvSpPr>
          <p:cNvPr id="3" name="Text Placeholder 2"/>
          <p:cNvSpPr>
            <a:spLocks noGrp="1"/>
          </p:cNvSpPr>
          <p:nvPr>
            <p:ph type="body" idx="1"/>
          </p:nvPr>
        </p:nvSpPr>
        <p:spPr>
          <a:xfrm>
            <a:off x="2589212" y="3530129"/>
            <a:ext cx="8915399"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Cliquez pour modifier les styles du texte du masque</a:t>
            </a:r>
          </a:p>
        </p:txBody>
      </p:sp>
      <p:sp>
        <p:nvSpPr>
          <p:cNvPr id="4" name="Date Placeholder 3"/>
          <p:cNvSpPr>
            <a:spLocks noGrp="1"/>
          </p:cNvSpPr>
          <p:nvPr>
            <p:ph type="dt" sz="half" idx="10"/>
          </p:nvPr>
        </p:nvSpPr>
        <p:spPr/>
        <p:txBody>
          <a:bodyPr/>
          <a:lstStyle/>
          <a:p>
            <a:fld id="{B61BEF0D-F0BB-DE4B-95CE-6DB70DBA9567}" type="datetimeFigureOut">
              <a:rPr lang="en-US" dirty="0"/>
              <a:pPr/>
              <a:t>8/2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35382079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fourObj">
  <p:cSld name="Titre et 4 contenus">
    <p:spTree>
      <p:nvGrpSpPr>
        <p:cNvPr id="1" name=""/>
        <p:cNvGrpSpPr/>
        <p:nvPr/>
      </p:nvGrpSpPr>
      <p:grpSpPr>
        <a:xfrm>
          <a:off x="0" y="0"/>
          <a:ext cx="0" cy="0"/>
          <a:chOff x="0" y="0"/>
          <a:chExt cx="0" cy="0"/>
        </a:xfrm>
      </p:grpSpPr>
      <p:sp>
        <p:nvSpPr>
          <p:cNvPr id="2" name="Titre 1"/>
          <p:cNvSpPr>
            <a:spLocks noGrp="1"/>
          </p:cNvSpPr>
          <p:nvPr>
            <p:ph type="title" sz="quarter"/>
          </p:nvPr>
        </p:nvSpPr>
        <p:spPr>
          <a:xfrm>
            <a:off x="609600" y="274638"/>
            <a:ext cx="10972800" cy="1143000"/>
          </a:xfrm>
        </p:spPr>
        <p:txBody>
          <a:bodyPr/>
          <a:lstStyle/>
          <a:p>
            <a:r>
              <a:rPr lang="fr-FR"/>
              <a:t>Modifiez le style du titre</a:t>
            </a:r>
          </a:p>
        </p:txBody>
      </p:sp>
      <p:sp>
        <p:nvSpPr>
          <p:cNvPr id="3" name="Espace réservé du contenu 2"/>
          <p:cNvSpPr>
            <a:spLocks noGrp="1"/>
          </p:cNvSpPr>
          <p:nvPr>
            <p:ph sz="quarter" idx="1"/>
          </p:nvPr>
        </p:nvSpPr>
        <p:spPr>
          <a:xfrm>
            <a:off x="609600" y="1600200"/>
            <a:ext cx="5384800" cy="21859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quarter" idx="2"/>
          </p:nvPr>
        </p:nvSpPr>
        <p:spPr>
          <a:xfrm>
            <a:off x="6197600" y="1600200"/>
            <a:ext cx="5384800" cy="21859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contenu 4"/>
          <p:cNvSpPr>
            <a:spLocks noGrp="1"/>
          </p:cNvSpPr>
          <p:nvPr>
            <p:ph sz="quarter" idx="3"/>
          </p:nvPr>
        </p:nvSpPr>
        <p:spPr>
          <a:xfrm>
            <a:off x="609600" y="3938589"/>
            <a:ext cx="5384800" cy="2187575"/>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contenu 5"/>
          <p:cNvSpPr>
            <a:spLocks noGrp="1"/>
          </p:cNvSpPr>
          <p:nvPr>
            <p:ph sz="quarter" idx="4"/>
          </p:nvPr>
        </p:nvSpPr>
        <p:spPr>
          <a:xfrm>
            <a:off x="6197600" y="3938589"/>
            <a:ext cx="5384800" cy="2187575"/>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a:xfrm>
            <a:off x="609600" y="6251575"/>
            <a:ext cx="2844800" cy="476250"/>
          </a:xfrm>
        </p:spPr>
        <p:txBody>
          <a:bodyPr/>
          <a:lstStyle>
            <a:lvl1pPr>
              <a:defRPr/>
            </a:lvl1pPr>
          </a:lstStyle>
          <a:p>
            <a:endParaRPr lang="fr-FR"/>
          </a:p>
        </p:txBody>
      </p:sp>
      <p:sp>
        <p:nvSpPr>
          <p:cNvPr id="8" name="Espace réservé du numéro de diapositive 7"/>
          <p:cNvSpPr>
            <a:spLocks noGrp="1"/>
          </p:cNvSpPr>
          <p:nvPr>
            <p:ph type="sldNum" sz="quarter" idx="11"/>
          </p:nvPr>
        </p:nvSpPr>
        <p:spPr>
          <a:xfrm>
            <a:off x="8737600" y="6248400"/>
            <a:ext cx="2844800" cy="476250"/>
          </a:xfrm>
        </p:spPr>
        <p:txBody>
          <a:bodyPr/>
          <a:lstStyle>
            <a:lvl1pPr>
              <a:defRPr/>
            </a:lvl1pPr>
          </a:lstStyle>
          <a:p>
            <a:fld id="{ACBAA456-9D03-4EDB-8467-1E39D0C9AD79}" type="slidenum">
              <a:rPr lang="fr-FR"/>
              <a:pPr/>
              <a:t>‹N°›</a:t>
            </a:fld>
            <a:endParaRPr lang="fr-FR"/>
          </a:p>
        </p:txBody>
      </p:sp>
      <p:sp>
        <p:nvSpPr>
          <p:cNvPr id="9" name="Espace réservé du pied de page 8"/>
          <p:cNvSpPr>
            <a:spLocks noGrp="1"/>
          </p:cNvSpPr>
          <p:nvPr>
            <p:ph type="ftr" sz="quarter" idx="12"/>
          </p:nvPr>
        </p:nvSpPr>
        <p:spPr>
          <a:xfrm>
            <a:off x="4165600" y="6248400"/>
            <a:ext cx="3860800" cy="476250"/>
          </a:xfrm>
        </p:spPr>
        <p:txBody>
          <a:bodyPr/>
          <a:lstStyle>
            <a:lvl1pPr>
              <a:defRPr/>
            </a:lvl1pPr>
          </a:lstStyle>
          <a:p>
            <a:endParaRPr lang="fr-FR"/>
          </a:p>
        </p:txBody>
      </p:sp>
    </p:spTree>
    <p:extLst>
      <p:ext uri="{BB962C8B-B14F-4D97-AF65-F5344CB8AC3E}">
        <p14:creationId xmlns:p14="http://schemas.microsoft.com/office/powerpoint/2010/main" val="40004904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sz="half" idx="1"/>
          </p:nvPr>
        </p:nvSpPr>
        <p:spPr>
          <a:xfrm>
            <a:off x="2589212" y="2133600"/>
            <a:ext cx="4313864" cy="3777622"/>
          </a:xfrm>
        </p:spPr>
        <p:txBody>
          <a:bodyPr>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Content Placeholder 3"/>
          <p:cNvSpPr>
            <a:spLocks noGrp="1"/>
          </p:cNvSpPr>
          <p:nvPr>
            <p:ph sz="half" idx="2"/>
          </p:nvPr>
        </p:nvSpPr>
        <p:spPr>
          <a:xfrm>
            <a:off x="7190747" y="2126222"/>
            <a:ext cx="4313864" cy="3777622"/>
          </a:xfrm>
        </p:spPr>
        <p:txBody>
          <a:bodyPr>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dirty="0"/>
              <a:pPr/>
              <a:t>8/29/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12"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3" name="Slide Number Placeholder 5"/>
          <p:cNvSpPr>
            <a:spLocks noGrp="1"/>
          </p:cNvSpPr>
          <p:nvPr>
            <p:ph type="sldNum" sz="quarter" idx="12"/>
          </p:nvPr>
        </p:nvSpPr>
        <p:spPr>
          <a:xfrm>
            <a:off x="531812" y="787782"/>
            <a:ext cx="779767" cy="365125"/>
          </a:xfrm>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34060981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fr-FR"/>
              <a:t>Modifiez le style du titre</a:t>
            </a:r>
            <a:endParaRPr lang="en-US" dirty="0"/>
          </a:p>
        </p:txBody>
      </p:sp>
      <p:sp>
        <p:nvSpPr>
          <p:cNvPr id="3" name="Text Placeholder 2"/>
          <p:cNvSpPr>
            <a:spLocks noGrp="1"/>
          </p:cNvSpPr>
          <p:nvPr>
            <p:ph type="body" idx="1"/>
          </p:nvPr>
        </p:nvSpPr>
        <p:spPr>
          <a:xfrm>
            <a:off x="2939373" y="1972703"/>
            <a:ext cx="399273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Content Placeholder 3"/>
          <p:cNvSpPr>
            <a:spLocks noGrp="1"/>
          </p:cNvSpPr>
          <p:nvPr>
            <p:ph sz="half" idx="2"/>
          </p:nvPr>
        </p:nvSpPr>
        <p:spPr>
          <a:xfrm>
            <a:off x="2589212" y="2548966"/>
            <a:ext cx="4342893" cy="3354060"/>
          </a:xfrm>
        </p:spPr>
        <p:txBody>
          <a:bodyPr>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Text Placeholder 4"/>
          <p:cNvSpPr>
            <a:spLocks noGrp="1"/>
          </p:cNvSpPr>
          <p:nvPr>
            <p:ph type="body" sz="quarter" idx="3"/>
          </p:nvPr>
        </p:nvSpPr>
        <p:spPr>
          <a:xfrm>
            <a:off x="7506629" y="1969475"/>
            <a:ext cx="3999001"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Content Placeholder 5"/>
          <p:cNvSpPr>
            <a:spLocks noGrp="1"/>
          </p:cNvSpPr>
          <p:nvPr>
            <p:ph sz="quarter" idx="4"/>
          </p:nvPr>
        </p:nvSpPr>
        <p:spPr>
          <a:xfrm>
            <a:off x="7166957" y="2545738"/>
            <a:ext cx="4338674" cy="3354060"/>
          </a:xfrm>
        </p:spPr>
        <p:txBody>
          <a:bodyPr>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8/29/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12"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3" name="Slide Number Placeholder 5"/>
          <p:cNvSpPr>
            <a:spLocks noGrp="1"/>
          </p:cNvSpPr>
          <p:nvPr>
            <p:ph type="sldNum" sz="quarter" idx="12"/>
          </p:nvPr>
        </p:nvSpPr>
        <p:spPr>
          <a:xfrm>
            <a:off x="531812" y="787782"/>
            <a:ext cx="779767" cy="365125"/>
          </a:xfrm>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9703322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8/29/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7"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29709848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8/29/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6"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18336750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2589212" y="446088"/>
            <a:ext cx="3505199" cy="976312"/>
          </a:xfrm>
        </p:spPr>
        <p:txBody>
          <a:bodyPr anchor="b"/>
          <a:lstStyle>
            <a:lvl1pPr algn="l">
              <a:defRPr sz="2000" b="0"/>
            </a:lvl1pPr>
          </a:lstStyle>
          <a:p>
            <a:r>
              <a:rPr lang="fr-FR"/>
              <a:t>Modifiez le style du titre</a:t>
            </a:r>
            <a:endParaRPr lang="en-US" dirty="0"/>
          </a:p>
        </p:txBody>
      </p:sp>
      <p:sp>
        <p:nvSpPr>
          <p:cNvPr id="3" name="Content Placeholder 2"/>
          <p:cNvSpPr>
            <a:spLocks noGrp="1"/>
          </p:cNvSpPr>
          <p:nvPr>
            <p:ph idx="1"/>
          </p:nvPr>
        </p:nvSpPr>
        <p:spPr>
          <a:xfrm>
            <a:off x="6323012" y="446088"/>
            <a:ext cx="5181600" cy="5414963"/>
          </a:xfrm>
        </p:spPr>
        <p:txBody>
          <a:bodyPr anchor="ctr">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3"/>
          <p:cNvSpPr>
            <a:spLocks noGrp="1"/>
          </p:cNvSpPr>
          <p:nvPr>
            <p:ph type="body" sz="half" idx="2"/>
          </p:nvPr>
        </p:nvSpPr>
        <p:spPr>
          <a:xfrm>
            <a:off x="2589212" y="1598613"/>
            <a:ext cx="3505199"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Date Placeholder 4"/>
          <p:cNvSpPr>
            <a:spLocks noGrp="1"/>
          </p:cNvSpPr>
          <p:nvPr>
            <p:ph type="dt" sz="half" idx="10"/>
          </p:nvPr>
        </p:nvSpPr>
        <p:spPr/>
        <p:txBody>
          <a:bodyPr/>
          <a:lstStyle/>
          <a:p>
            <a:fld id="{B61BEF0D-F0BB-DE4B-95CE-6DB70DBA9567}" type="datetimeFigureOut">
              <a:rPr lang="en-US" dirty="0"/>
              <a:pPr/>
              <a:t>8/29/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9"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11615479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2589213" y="4800600"/>
            <a:ext cx="8915400" cy="566738"/>
          </a:xfrm>
        </p:spPr>
        <p:txBody>
          <a:bodyPr anchor="b">
            <a:normAutofit/>
          </a:bodyPr>
          <a:lstStyle>
            <a:lvl1pPr algn="l">
              <a:defRPr sz="2400" b="0"/>
            </a:lvl1pPr>
          </a:lstStyle>
          <a:p>
            <a:r>
              <a:rPr lang="fr-FR"/>
              <a:t>Modifiez le style du titre</a:t>
            </a:r>
            <a:endParaRPr lang="en-US" dirty="0"/>
          </a:p>
        </p:txBody>
      </p:sp>
      <p:sp>
        <p:nvSpPr>
          <p:cNvPr id="3" name="Picture Placeholder 2"/>
          <p:cNvSpPr>
            <a:spLocks noGrp="1" noChangeAspect="1"/>
          </p:cNvSpPr>
          <p:nvPr>
            <p:ph type="pic" idx="1"/>
          </p:nvPr>
        </p:nvSpPr>
        <p:spPr>
          <a:xfrm>
            <a:off x="2589212" y="634965"/>
            <a:ext cx="8915400"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fr-FR"/>
              <a:t>Cliquez sur l'icône pour ajouter une image</a:t>
            </a:r>
            <a:endParaRPr lang="en-US" dirty="0"/>
          </a:p>
        </p:txBody>
      </p:sp>
      <p:sp>
        <p:nvSpPr>
          <p:cNvPr id="4" name="Text Placeholder 3"/>
          <p:cNvSpPr>
            <a:spLocks noGrp="1"/>
          </p:cNvSpPr>
          <p:nvPr>
            <p:ph type="body" sz="half" idx="2"/>
          </p:nvPr>
        </p:nvSpPr>
        <p:spPr>
          <a:xfrm>
            <a:off x="2589213" y="5367338"/>
            <a:ext cx="8915400"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Date Placeholder 4"/>
          <p:cNvSpPr>
            <a:spLocks noGrp="1"/>
          </p:cNvSpPr>
          <p:nvPr>
            <p:ph type="dt" sz="half" idx="10"/>
          </p:nvPr>
        </p:nvSpPr>
        <p:spPr/>
        <p:txBody>
          <a:bodyPr/>
          <a:lstStyle/>
          <a:p>
            <a:fld id="{B61BEF0D-F0BB-DE4B-95CE-6DB70DBA9567}" type="datetimeFigureOut">
              <a:rPr lang="en-US" dirty="0"/>
              <a:pPr/>
              <a:t>8/29/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9541166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heme" Target="../theme/theme2.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157"/>
            <a:ext cx="2356674" cy="6853096"/>
            <a:chOff x="6627813" y="195610"/>
            <a:chExt cx="1952625" cy="5678141"/>
          </a:xfrm>
        </p:grpSpPr>
        <p:sp>
          <p:nvSpPr>
            <p:cNvPr id="11" name="Freeform 27"/>
            <p:cNvSpPr/>
            <p:nvPr/>
          </p:nvSpPr>
          <p:spPr bwMode="auto">
            <a:xfrm>
              <a:off x="6627813" y="195610"/>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fr-FR"/>
              <a:t>Modifiez le style du titr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8/29/2023</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N°›</a:t>
            </a:fld>
            <a:endParaRPr lang="en-US" dirty="0"/>
          </a:p>
        </p:txBody>
      </p:sp>
    </p:spTree>
    <p:extLst>
      <p:ext uri="{BB962C8B-B14F-4D97-AF65-F5344CB8AC3E}">
        <p14:creationId xmlns:p14="http://schemas.microsoft.com/office/powerpoint/2010/main" val="4068229892"/>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Lst>
  <p:txStyles>
    <p:titleStyle>
      <a:lvl1pPr algn="l" defTabSz="457200" rtl="0" eaLnBrk="1" latinLnBrk="0" hangingPunct="1">
        <a:spcBef>
          <a:spcPct val="0"/>
        </a:spcBef>
        <a:buNone/>
        <a:defRPr sz="3600" kern="1200">
          <a:solidFill>
            <a:schemeClr val="accent2">
              <a:lumMod val="7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974722F-D176-A684-69A4-A3CDFFD510D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ECB60219-0C8E-4910-914D-E973207A092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A58F35D4-EEF0-BD3A-EEAC-88A8FEA5B26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6DFF08F-DC6B-4601-B491-B0F83F6DD2DA}" type="datetimeFigureOut">
              <a:rPr lang="en-US" smtClean="0"/>
              <a:pPr/>
              <a:t>8/29/2023</a:t>
            </a:fld>
            <a:endParaRPr lang="en-US" dirty="0"/>
          </a:p>
        </p:txBody>
      </p:sp>
      <p:sp>
        <p:nvSpPr>
          <p:cNvPr id="5" name="Espace réservé du pied de page 4">
            <a:extLst>
              <a:ext uri="{FF2B5EF4-FFF2-40B4-BE49-F238E27FC236}">
                <a16:creationId xmlns:a16="http://schemas.microsoft.com/office/drawing/2014/main" id="{D4C78286-8CBA-9C04-5D4B-8AE52841F57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Espace réservé du numéro de diapositive 5">
            <a:extLst>
              <a:ext uri="{FF2B5EF4-FFF2-40B4-BE49-F238E27FC236}">
                <a16:creationId xmlns:a16="http://schemas.microsoft.com/office/drawing/2014/main" id="{0A7C5A05-6B7B-A3ED-17A0-8ABC98F8B3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FAB73BC-B049-4115-A692-8D63A059BFB8}" type="slidenum">
              <a:rPr lang="en-US" smtClean="0"/>
              <a:pPr/>
              <a:t>‹N°›</a:t>
            </a:fld>
            <a:endParaRPr lang="en-US" dirty="0"/>
          </a:p>
        </p:txBody>
      </p:sp>
    </p:spTree>
    <p:extLst>
      <p:ext uri="{BB962C8B-B14F-4D97-AF65-F5344CB8AC3E}">
        <p14:creationId xmlns:p14="http://schemas.microsoft.com/office/powerpoint/2010/main" val="4110735595"/>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8.xml"/><Relationship Id="rId6" Type="http://schemas.openxmlformats.org/officeDocument/2006/relationships/image" Target="../media/image25.emf"/><Relationship Id="rId5" Type="http://schemas.openxmlformats.org/officeDocument/2006/relationships/image" Target="../media/image24.png"/><Relationship Id="rId4" Type="http://schemas.openxmlformats.org/officeDocument/2006/relationships/image" Target="../media/image23.png"/></Relationships>
</file>

<file path=ppt/slides/_rels/slide100.xml.rels><?xml version="1.0" encoding="UTF-8" standalone="yes"?>
<Relationships xmlns="http://schemas.openxmlformats.org/package/2006/relationships"><Relationship Id="rId3" Type="http://schemas.openxmlformats.org/officeDocument/2006/relationships/image" Target="../media/image207.jpg"/><Relationship Id="rId2" Type="http://schemas.openxmlformats.org/officeDocument/2006/relationships/image" Target="../media/image206.jpg"/><Relationship Id="rId1" Type="http://schemas.openxmlformats.org/officeDocument/2006/relationships/slideLayout" Target="../slideLayouts/slideLayout18.xml"/></Relationships>
</file>

<file path=ppt/slides/_rels/slide101.xml.rels><?xml version="1.0" encoding="UTF-8" standalone="yes"?>
<Relationships xmlns="http://schemas.openxmlformats.org/package/2006/relationships"><Relationship Id="rId2" Type="http://schemas.openxmlformats.org/officeDocument/2006/relationships/image" Target="../media/image208.jpg"/><Relationship Id="rId1" Type="http://schemas.openxmlformats.org/officeDocument/2006/relationships/slideLayout" Target="../slideLayouts/slideLayout23.xml"/></Relationships>
</file>

<file path=ppt/slides/_rels/slide102.xml.rels><?xml version="1.0" encoding="UTF-8" standalone="yes"?>
<Relationships xmlns="http://schemas.openxmlformats.org/package/2006/relationships"><Relationship Id="rId2" Type="http://schemas.openxmlformats.org/officeDocument/2006/relationships/image" Target="../media/image209.png"/><Relationship Id="rId1" Type="http://schemas.openxmlformats.org/officeDocument/2006/relationships/slideLayout" Target="../slideLayouts/slideLayout18.xml"/></Relationships>
</file>

<file path=ppt/slides/_rels/slide103.xml.rels><?xml version="1.0" encoding="UTF-8" standalone="yes"?>
<Relationships xmlns="http://schemas.openxmlformats.org/package/2006/relationships"><Relationship Id="rId3" Type="http://schemas.openxmlformats.org/officeDocument/2006/relationships/image" Target="../media/image210.jpeg"/><Relationship Id="rId2" Type="http://schemas.openxmlformats.org/officeDocument/2006/relationships/slideLayout" Target="../slideLayouts/slideLayout23.xml"/><Relationship Id="rId1" Type="http://schemas.openxmlformats.org/officeDocument/2006/relationships/video" Target="https://www.youtube.com/embed/QnHCc6zSr6s?feature=oembed" TargetMode="External"/></Relationships>
</file>

<file path=ppt/slides/_rels/slide1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Layout" Target="../slideLayouts/slideLayout23.xml"/><Relationship Id="rId1" Type="http://schemas.openxmlformats.org/officeDocument/2006/relationships/video" Target="https://www.youtube.com/embed/4B3Xr94lDz0?feature=oembed" TargetMode="External"/></Relationships>
</file>

<file path=ppt/slides/_rels/slide1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image" Target="../media/image33.jpe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32.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31.emf"/><Relationship Id="rId5" Type="http://schemas.openxmlformats.org/officeDocument/2006/relationships/tags" Target="../tags/tag17.xml"/><Relationship Id="rId10" Type="http://schemas.openxmlformats.org/officeDocument/2006/relationships/oleObject" Target="../embeddings/oleObject2.bin"/><Relationship Id="rId4" Type="http://schemas.openxmlformats.org/officeDocument/2006/relationships/tags" Target="../tags/tag16.xml"/><Relationship Id="rId9" Type="http://schemas.openxmlformats.org/officeDocument/2006/relationships/notesSlide" Target="../notesSlides/notesSlide1.xml"/><Relationship Id="rId14" Type="http://schemas.openxmlformats.org/officeDocument/2006/relationships/image" Target="../media/image34.png"/></Relationships>
</file>

<file path=ppt/slides/_rels/slide18.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image" Target="../media/image36.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image" Target="../media/image31.emf"/><Relationship Id="rId5" Type="http://schemas.openxmlformats.org/officeDocument/2006/relationships/tags" Target="../tags/tag24.xml"/><Relationship Id="rId10" Type="http://schemas.openxmlformats.org/officeDocument/2006/relationships/oleObject" Target="../embeddings/oleObject3.bin"/><Relationship Id="rId4" Type="http://schemas.openxmlformats.org/officeDocument/2006/relationships/tags" Target="../tags/tag23.xml"/><Relationship Id="rId9" Type="http://schemas.openxmlformats.org/officeDocument/2006/relationships/notesSlide" Target="../notesSlides/notesSlide2.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23.xml"/><Relationship Id="rId1" Type="http://schemas.openxmlformats.org/officeDocument/2006/relationships/video" Target="https://www.youtube.com/embed/JI4_6-J8HXU?feature=oembed" TargetMode="External"/></Relationships>
</file>

<file path=ppt/slides/_rels/slide20.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image" Target="../media/image1.emf"/><Relationship Id="rId5" Type="http://schemas.openxmlformats.org/officeDocument/2006/relationships/tags" Target="../tags/tag31.xml"/><Relationship Id="rId10" Type="http://schemas.openxmlformats.org/officeDocument/2006/relationships/oleObject" Target="../embeddings/oleObject4.bin"/><Relationship Id="rId4" Type="http://schemas.openxmlformats.org/officeDocument/2006/relationships/tags" Target="../tags/tag30.xml"/><Relationship Id="rId9" Type="http://schemas.openxmlformats.org/officeDocument/2006/relationships/notesSlide" Target="../notesSlides/notesSlide3.xml"/></Relationships>
</file>

<file path=ppt/slides/_rels/slide21.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image" Target="../media/image37.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image" Target="../media/image31.emf"/><Relationship Id="rId5" Type="http://schemas.openxmlformats.org/officeDocument/2006/relationships/tags" Target="../tags/tag38.xml"/><Relationship Id="rId10" Type="http://schemas.openxmlformats.org/officeDocument/2006/relationships/oleObject" Target="../embeddings/oleObject5.bin"/><Relationship Id="rId4" Type="http://schemas.openxmlformats.org/officeDocument/2006/relationships/tags" Target="../tags/tag37.xml"/><Relationship Id="rId9" Type="http://schemas.openxmlformats.org/officeDocument/2006/relationships/notesSlide" Target="../notesSlides/notesSlide4.xml"/></Relationships>
</file>

<file path=ppt/slides/_rels/slide23.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23.xml"/></Relationships>
</file>

<file path=ppt/slides/_rels/slide25.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Layout" Target="../slideLayouts/slideLayout28.xml"/><Relationship Id="rId1" Type="http://schemas.openxmlformats.org/officeDocument/2006/relationships/video" Target="https://www.youtube.com/embed/cyR9XsWRs9Q?feature=oembed" TargetMode="External"/><Relationship Id="rId6" Type="http://schemas.openxmlformats.org/officeDocument/2006/relationships/image" Target="../media/image45.jpeg"/><Relationship Id="rId5" Type="http://schemas.openxmlformats.org/officeDocument/2006/relationships/image" Target="../media/image44.png"/><Relationship Id="rId4" Type="http://schemas.openxmlformats.org/officeDocument/2006/relationships/image" Target="../media/image43.jpeg"/></Relationships>
</file>

<file path=ppt/slides/_rels/slide28.xml.rels><?xml version="1.0" encoding="UTF-8" standalone="yes"?>
<Relationships xmlns="http://schemas.openxmlformats.org/package/2006/relationships"><Relationship Id="rId3" Type="http://schemas.openxmlformats.org/officeDocument/2006/relationships/video" Target="https://www.youtube.com/embed/vyynKEIOCWM?feature=oembed" TargetMode="External"/><Relationship Id="rId7" Type="http://schemas.openxmlformats.org/officeDocument/2006/relationships/image" Target="../media/image48.jpeg"/><Relationship Id="rId2" Type="http://schemas.openxmlformats.org/officeDocument/2006/relationships/video" Target="https://www.youtube.com/embed/3c-TLJYWDuI?feature=oembed" TargetMode="External"/><Relationship Id="rId1" Type="http://schemas.openxmlformats.org/officeDocument/2006/relationships/video" Target="https://www.youtube.com/embed/uSxvnHGN5qk?feature=oembed" TargetMode="External"/><Relationship Id="rId6" Type="http://schemas.openxmlformats.org/officeDocument/2006/relationships/image" Target="../media/image47.jpeg"/><Relationship Id="rId5" Type="http://schemas.openxmlformats.org/officeDocument/2006/relationships/image" Target="../media/image46.jpeg"/><Relationship Id="rId4"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video" Target="https://www.youtube.com/embed/zann3Sm3xlQ?feature=oembed" TargetMode="External"/><Relationship Id="rId7" Type="http://schemas.openxmlformats.org/officeDocument/2006/relationships/image" Target="../media/image6.jpeg"/><Relationship Id="rId2" Type="http://schemas.openxmlformats.org/officeDocument/2006/relationships/video" Target="https://www.youtube.com/embed/Ct69AEYmLKE?feature=oembed" TargetMode="External"/><Relationship Id="rId1" Type="http://schemas.openxmlformats.org/officeDocument/2006/relationships/video" Target="https://www.youtube.com/embed/ljBBvLp1gfY?feature=oembed" TargetMode="Externa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slideLayout" Target="../slideLayouts/slideLayout23.xml"/><Relationship Id="rId1" Type="http://schemas.openxmlformats.org/officeDocument/2006/relationships/video" Target="https://player.vimeo.com/video/92547346?app_id=122963" TargetMode="External"/></Relationships>
</file>

<file path=ppt/slides/_rels/slide31.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51.jpeg"/><Relationship Id="rId1" Type="http://schemas.openxmlformats.org/officeDocument/2006/relationships/slideLayout" Target="../slideLayouts/slideLayout1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8" Type="http://schemas.openxmlformats.org/officeDocument/2006/relationships/image" Target="../media/image68.jpeg"/><Relationship Id="rId3" Type="http://schemas.openxmlformats.org/officeDocument/2006/relationships/image" Target="../media/image63.jpeg"/><Relationship Id="rId7" Type="http://schemas.openxmlformats.org/officeDocument/2006/relationships/image" Target="../media/image67.jpeg"/><Relationship Id="rId12" Type="http://schemas.openxmlformats.org/officeDocument/2006/relationships/image" Target="../media/image72.png"/><Relationship Id="rId2" Type="http://schemas.openxmlformats.org/officeDocument/2006/relationships/image" Target="../media/image62.jpeg"/><Relationship Id="rId1" Type="http://schemas.openxmlformats.org/officeDocument/2006/relationships/slideLayout" Target="../slideLayouts/slideLayout18.xml"/><Relationship Id="rId6" Type="http://schemas.openxmlformats.org/officeDocument/2006/relationships/image" Target="../media/image66.png"/><Relationship Id="rId11" Type="http://schemas.openxmlformats.org/officeDocument/2006/relationships/image" Target="../media/image71.jpeg"/><Relationship Id="rId5" Type="http://schemas.openxmlformats.org/officeDocument/2006/relationships/image" Target="../media/image65.png"/><Relationship Id="rId10" Type="http://schemas.openxmlformats.org/officeDocument/2006/relationships/image" Target="../media/image70.jpeg"/><Relationship Id="rId4" Type="http://schemas.openxmlformats.org/officeDocument/2006/relationships/image" Target="../media/image64.jpeg"/><Relationship Id="rId9" Type="http://schemas.openxmlformats.org/officeDocument/2006/relationships/image" Target="../media/image69.png"/></Relationships>
</file>

<file path=ppt/slides/_rels/slide39.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2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microsoft.com/office/2007/relationships/media" Target="../media/media1.mp4"/><Relationship Id="rId1" Type="http://schemas.openxmlformats.org/officeDocument/2006/relationships/video" Target="NULL" TargetMode="External"/><Relationship Id="rId5" Type="http://schemas.openxmlformats.org/officeDocument/2006/relationships/image" Target="../media/image74.png"/><Relationship Id="rId4" Type="http://schemas.openxmlformats.org/officeDocument/2006/relationships/notesSlide" Target="../notesSlides/notesSlide5.xml"/></Relationships>
</file>

<file path=ppt/slides/_rels/slide41.xml.rels><?xml version="1.0" encoding="UTF-8" standalone="yes"?>
<Relationships xmlns="http://schemas.openxmlformats.org/package/2006/relationships"><Relationship Id="rId2" Type="http://schemas.openxmlformats.org/officeDocument/2006/relationships/image" Target="../media/image75.jpg"/><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2" Type="http://schemas.openxmlformats.org/officeDocument/2006/relationships/image" Target="../media/image77.jpg"/><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2" Type="http://schemas.openxmlformats.org/officeDocument/2006/relationships/image" Target="../media/image79.jpg"/><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82.wmf"/><Relationship Id="rId2" Type="http://schemas.openxmlformats.org/officeDocument/2006/relationships/image" Target="../media/image81.wmf"/><Relationship Id="rId1" Type="http://schemas.openxmlformats.org/officeDocument/2006/relationships/slideLayout" Target="../slideLayouts/slideLayout18.xml"/><Relationship Id="rId6" Type="http://schemas.openxmlformats.org/officeDocument/2006/relationships/image" Target="../media/image78.png"/><Relationship Id="rId5" Type="http://schemas.openxmlformats.org/officeDocument/2006/relationships/image" Target="../media/image84.wmf"/><Relationship Id="rId4" Type="http://schemas.openxmlformats.org/officeDocument/2006/relationships/image" Target="../media/image83.wmf"/></Relationships>
</file>

<file path=ppt/slides/_rels/slide49.xml.rels><?xml version="1.0" encoding="UTF-8" standalone="yes"?>
<Relationships xmlns="http://schemas.openxmlformats.org/package/2006/relationships"><Relationship Id="rId3" Type="http://schemas.openxmlformats.org/officeDocument/2006/relationships/image" Target="../media/image86.gif"/><Relationship Id="rId2" Type="http://schemas.openxmlformats.org/officeDocument/2006/relationships/image" Target="../media/image85.jpg"/><Relationship Id="rId1" Type="http://schemas.openxmlformats.org/officeDocument/2006/relationships/slideLayout" Target="../slideLayouts/slideLayout18.xml"/><Relationship Id="rId5" Type="http://schemas.openxmlformats.org/officeDocument/2006/relationships/image" Target="../media/image88.jpg"/><Relationship Id="rId4" Type="http://schemas.openxmlformats.org/officeDocument/2006/relationships/image" Target="../media/image87.jp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Layout" Target="../slideLayouts/slideLayout23.xml"/><Relationship Id="rId4" Type="http://schemas.openxmlformats.org/officeDocument/2006/relationships/image" Target="../media/image10.jpeg"/></Relationships>
</file>

<file path=ppt/slides/_rels/slide50.xml.rels><?xml version="1.0" encoding="UTF-8" standalone="yes"?>
<Relationships xmlns="http://schemas.openxmlformats.org/package/2006/relationships"><Relationship Id="rId3" Type="http://schemas.openxmlformats.org/officeDocument/2006/relationships/image" Target="../media/image86.gif"/><Relationship Id="rId2" Type="http://schemas.openxmlformats.org/officeDocument/2006/relationships/image" Target="../media/image88.jpg"/><Relationship Id="rId1" Type="http://schemas.openxmlformats.org/officeDocument/2006/relationships/slideLayout" Target="../slideLayouts/slideLayout18.xml"/><Relationship Id="rId5" Type="http://schemas.openxmlformats.org/officeDocument/2006/relationships/image" Target="../media/image87.jpg"/><Relationship Id="rId4" Type="http://schemas.openxmlformats.org/officeDocument/2006/relationships/image" Target="../media/image85.jpg"/></Relationships>
</file>

<file path=ppt/slides/_rels/slide51.xml.rels><?xml version="1.0" encoding="UTF-8" standalone="yes"?>
<Relationships xmlns="http://schemas.openxmlformats.org/package/2006/relationships"><Relationship Id="rId3" Type="http://schemas.openxmlformats.org/officeDocument/2006/relationships/image" Target="../media/image90.svg"/><Relationship Id="rId2" Type="http://schemas.openxmlformats.org/officeDocument/2006/relationships/image" Target="../media/image89.png"/><Relationship Id="rId1" Type="http://schemas.openxmlformats.org/officeDocument/2006/relationships/slideLayout" Target="../slideLayouts/slideLayout29.xml"/></Relationships>
</file>

<file path=ppt/slides/_rels/slide52.xml.rels><?xml version="1.0" encoding="UTF-8" standalone="yes"?>
<Relationships xmlns="http://schemas.openxmlformats.org/package/2006/relationships"><Relationship Id="rId8" Type="http://schemas.openxmlformats.org/officeDocument/2006/relationships/image" Target="../media/image95.jpeg"/><Relationship Id="rId3" Type="http://schemas.openxmlformats.org/officeDocument/2006/relationships/image" Target="../media/image91.jpeg"/><Relationship Id="rId7" Type="http://schemas.openxmlformats.org/officeDocument/2006/relationships/hyperlink" Target="file:///F:\Activations\Proposition%20Lagardere%20N1.ppt" TargetMode="External"/><Relationship Id="rId2" Type="http://schemas.openxmlformats.org/officeDocument/2006/relationships/hyperlink" Target="file:///F:\ESAA%20Alger\Mes%20documents\JF\Lagard&#232;re\Proposition%20Lagardere%20N3.ppt" TargetMode="External"/><Relationship Id="rId1" Type="http://schemas.openxmlformats.org/officeDocument/2006/relationships/slideLayout" Target="../slideLayouts/slideLayout18.xml"/><Relationship Id="rId6" Type="http://schemas.openxmlformats.org/officeDocument/2006/relationships/image" Target="../media/image94.jpeg"/><Relationship Id="rId5" Type="http://schemas.openxmlformats.org/officeDocument/2006/relationships/image" Target="../media/image93.jpeg"/><Relationship Id="rId4" Type="http://schemas.openxmlformats.org/officeDocument/2006/relationships/image" Target="../media/image92.jpeg"/></Relationships>
</file>

<file path=ppt/slides/_rels/slide53.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2" Type="http://schemas.openxmlformats.org/officeDocument/2006/relationships/image" Target="../media/image100.jpeg"/><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image" Target="../media/image101.png"/><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image" Target="../media/image103.pn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23.xml"/><Relationship Id="rId4" Type="http://schemas.openxmlformats.org/officeDocument/2006/relationships/image" Target="../media/image13.png"/></Relationships>
</file>

<file path=ppt/slides/_rels/slide60.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image" Target="../media/image105.png"/><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image" Target="../media/image107.png"/><Relationship Id="rId1" Type="http://schemas.openxmlformats.org/officeDocument/2006/relationships/slideLayout" Target="../slideLayouts/slideLayout18.xml"/><Relationship Id="rId5" Type="http://schemas.openxmlformats.org/officeDocument/2006/relationships/image" Target="../media/image110.jpeg"/><Relationship Id="rId4" Type="http://schemas.openxmlformats.org/officeDocument/2006/relationships/image" Target="../media/image109.jpeg"/></Relationships>
</file>

<file path=ppt/slides/_rels/slide62.xml.rels><?xml version="1.0" encoding="UTF-8" standalone="yes"?>
<Relationships xmlns="http://schemas.openxmlformats.org/package/2006/relationships"><Relationship Id="rId3" Type="http://schemas.openxmlformats.org/officeDocument/2006/relationships/image" Target="../media/image112.emf"/><Relationship Id="rId2" Type="http://schemas.openxmlformats.org/officeDocument/2006/relationships/image" Target="../media/image111.jpg"/><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3" Type="http://schemas.openxmlformats.org/officeDocument/2006/relationships/image" Target="../media/image114.jpg"/><Relationship Id="rId2" Type="http://schemas.openxmlformats.org/officeDocument/2006/relationships/image" Target="../media/image113.jpg"/><Relationship Id="rId1" Type="http://schemas.openxmlformats.org/officeDocument/2006/relationships/slideLayout" Target="../slideLayouts/slideLayout23.xml"/></Relationships>
</file>

<file path=ppt/slides/_rels/slide64.xml.rels><?xml version="1.0" encoding="UTF-8" standalone="yes"?>
<Relationships xmlns="http://schemas.openxmlformats.org/package/2006/relationships"><Relationship Id="rId3" Type="http://schemas.openxmlformats.org/officeDocument/2006/relationships/image" Target="../media/image116.jpg"/><Relationship Id="rId2" Type="http://schemas.openxmlformats.org/officeDocument/2006/relationships/image" Target="../media/image115.jpg"/><Relationship Id="rId1" Type="http://schemas.openxmlformats.org/officeDocument/2006/relationships/slideLayout" Target="../slideLayouts/slideLayout23.xml"/></Relationships>
</file>

<file path=ppt/slides/_rels/slide65.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2" Type="http://schemas.openxmlformats.org/officeDocument/2006/relationships/image" Target="../media/image118.jpeg"/><Relationship Id="rId1" Type="http://schemas.openxmlformats.org/officeDocument/2006/relationships/slideLayout" Target="../slideLayouts/slideLayout18.xml"/></Relationships>
</file>

<file path=ppt/slides/_rels/slide67.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8.xml"/></Relationships>
</file>

<file path=ppt/slides/_rels/slide6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9.xml.rels><?xml version="1.0" encoding="UTF-8" standalone="yes"?>
<Relationships xmlns="http://schemas.openxmlformats.org/package/2006/relationships"><Relationship Id="rId3" Type="http://schemas.openxmlformats.org/officeDocument/2006/relationships/image" Target="../media/image132.jpg"/><Relationship Id="rId2" Type="http://schemas.openxmlformats.org/officeDocument/2006/relationships/hyperlink" Target="https://fr.adforum.com/agency/6671176/creative-work/34521029/we-are-tennis-fan-academy/bnp-paribas" TargetMode="Externa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23.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png"/></Relationships>
</file>

<file path=ppt/slides/_rels/slide70.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slideLayout" Target="../slideLayouts/slideLayout23.xml"/><Relationship Id="rId1" Type="http://schemas.openxmlformats.org/officeDocument/2006/relationships/video" Target="https://www.youtube.com/embed/5MnmgLUv2kc?start=7&amp;feature=oembed" TargetMode="External"/></Relationships>
</file>

<file path=ppt/slides/_rels/slide71.xml.rels><?xml version="1.0" encoding="UTF-8" standalone="yes"?>
<Relationships xmlns="http://schemas.openxmlformats.org/package/2006/relationships"><Relationship Id="rId3" Type="http://schemas.openxmlformats.org/officeDocument/2006/relationships/image" Target="../media/image135.jpg"/><Relationship Id="rId2" Type="http://schemas.openxmlformats.org/officeDocument/2006/relationships/image" Target="../media/image134.jpg"/><Relationship Id="rId1" Type="http://schemas.openxmlformats.org/officeDocument/2006/relationships/slideLayout" Target="../slideLayouts/slideLayout23.xml"/></Relationships>
</file>

<file path=ppt/slides/_rels/slide7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136.jpeg"/><Relationship Id="rId1" Type="http://schemas.openxmlformats.org/officeDocument/2006/relationships/slideLayout" Target="../slideLayouts/slideLayout1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3.xml.rels><?xml version="1.0" encoding="UTF-8" standalone="yes"?>
<Relationships xmlns="http://schemas.openxmlformats.org/package/2006/relationships"><Relationship Id="rId2" Type="http://schemas.openxmlformats.org/officeDocument/2006/relationships/image" Target="../media/image137.jpg"/><Relationship Id="rId1" Type="http://schemas.openxmlformats.org/officeDocument/2006/relationships/slideLayout" Target="../slideLayouts/slideLayout17.xml"/></Relationships>
</file>

<file path=ppt/slides/_rels/slide74.xml.rels><?xml version="1.0" encoding="UTF-8" standalone="yes"?>
<Relationships xmlns="http://schemas.openxmlformats.org/package/2006/relationships"><Relationship Id="rId2" Type="http://schemas.openxmlformats.org/officeDocument/2006/relationships/image" Target="../media/image138.jpg"/><Relationship Id="rId1" Type="http://schemas.openxmlformats.org/officeDocument/2006/relationships/slideLayout" Target="../slideLayouts/slideLayout18.xml"/></Relationships>
</file>

<file path=ppt/slides/_rels/slide75.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image" Target="../media/image139.jpeg"/><Relationship Id="rId1" Type="http://schemas.openxmlformats.org/officeDocument/2006/relationships/slideLayout" Target="../slideLayouts/slideLayout23.xml"/></Relationships>
</file>

<file path=ppt/slides/_rels/slide76.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23.xml"/></Relationships>
</file>

<file path=ppt/slides/_rels/slide77.xml.rels><?xml version="1.0" encoding="UTF-8" standalone="yes"?>
<Relationships xmlns="http://schemas.openxmlformats.org/package/2006/relationships"><Relationship Id="rId3" Type="http://schemas.openxmlformats.org/officeDocument/2006/relationships/image" Target="../media/image143.jpeg"/><Relationship Id="rId7" Type="http://schemas.openxmlformats.org/officeDocument/2006/relationships/image" Target="../media/image147.jpeg"/><Relationship Id="rId2" Type="http://schemas.openxmlformats.org/officeDocument/2006/relationships/image" Target="../media/image142.jpeg"/><Relationship Id="rId1" Type="http://schemas.openxmlformats.org/officeDocument/2006/relationships/slideLayout" Target="../slideLayouts/slideLayout23.xml"/><Relationship Id="rId6" Type="http://schemas.openxmlformats.org/officeDocument/2006/relationships/image" Target="../media/image146.jpeg"/><Relationship Id="rId5" Type="http://schemas.openxmlformats.org/officeDocument/2006/relationships/image" Target="../media/image145.jpeg"/><Relationship Id="rId4" Type="http://schemas.openxmlformats.org/officeDocument/2006/relationships/image" Target="../media/image144.jpeg"/></Relationships>
</file>

<file path=ppt/slides/_rels/slide7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image" Target="../media/image148.wmf"/><Relationship Id="rId7" Type="http://schemas.openxmlformats.org/officeDocument/2006/relationships/image" Target="../media/image150.wmf"/><Relationship Id="rId2" Type="http://schemas.openxmlformats.org/officeDocument/2006/relationships/oleObject" Target="../embeddings/oleObject6.bin"/><Relationship Id="rId1" Type="http://schemas.openxmlformats.org/officeDocument/2006/relationships/slideLayout" Target="../slideLayouts/slideLayout23.xml"/><Relationship Id="rId6" Type="http://schemas.openxmlformats.org/officeDocument/2006/relationships/oleObject" Target="../embeddings/oleObject8.bin"/><Relationship Id="rId5" Type="http://schemas.openxmlformats.org/officeDocument/2006/relationships/image" Target="../media/image149.wmf"/><Relationship Id="rId4" Type="http://schemas.openxmlformats.org/officeDocument/2006/relationships/oleObject" Target="../embeddings/oleObject7.bin"/><Relationship Id="rId9" Type="http://schemas.openxmlformats.org/officeDocument/2006/relationships/image" Target="../media/image151.wmf"/></Relationships>
</file>

<file path=ppt/slides/_rels/slide79.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image" Target="../media/image152.wmf"/><Relationship Id="rId7" Type="http://schemas.openxmlformats.org/officeDocument/2006/relationships/image" Target="../media/image154.wmf"/><Relationship Id="rId2" Type="http://schemas.openxmlformats.org/officeDocument/2006/relationships/oleObject" Target="../embeddings/oleObject10.bin"/><Relationship Id="rId1" Type="http://schemas.openxmlformats.org/officeDocument/2006/relationships/slideLayout" Target="../slideLayouts/slideLayout23.xml"/><Relationship Id="rId6" Type="http://schemas.openxmlformats.org/officeDocument/2006/relationships/oleObject" Target="../embeddings/oleObject12.bin"/><Relationship Id="rId5" Type="http://schemas.openxmlformats.org/officeDocument/2006/relationships/image" Target="../media/image153.wmf"/><Relationship Id="rId4" Type="http://schemas.openxmlformats.org/officeDocument/2006/relationships/oleObject" Target="../embeddings/oleObject11.bin"/><Relationship Id="rId9" Type="http://schemas.openxmlformats.org/officeDocument/2006/relationships/image" Target="../media/image155.wmf"/></Relationships>
</file>

<file path=ppt/slides/_rels/slide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8.xml"/></Relationships>
</file>

<file path=ppt/slides/_rels/slide80.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image" Target="../media/image156.wmf"/><Relationship Id="rId7" Type="http://schemas.openxmlformats.org/officeDocument/2006/relationships/image" Target="../media/image158.wmf"/><Relationship Id="rId2" Type="http://schemas.openxmlformats.org/officeDocument/2006/relationships/oleObject" Target="../embeddings/oleObject14.bin"/><Relationship Id="rId1" Type="http://schemas.openxmlformats.org/officeDocument/2006/relationships/slideLayout" Target="../slideLayouts/slideLayout30.xml"/><Relationship Id="rId6" Type="http://schemas.openxmlformats.org/officeDocument/2006/relationships/oleObject" Target="../embeddings/oleObject16.bin"/><Relationship Id="rId5" Type="http://schemas.openxmlformats.org/officeDocument/2006/relationships/image" Target="../media/image157.wmf"/><Relationship Id="rId4" Type="http://schemas.openxmlformats.org/officeDocument/2006/relationships/oleObject" Target="../embeddings/oleObject15.bin"/><Relationship Id="rId9" Type="http://schemas.openxmlformats.org/officeDocument/2006/relationships/image" Target="../media/image159.wmf"/></Relationships>
</file>

<file path=ppt/slides/_rels/slide81.xml.rels><?xml version="1.0" encoding="UTF-8" standalone="yes"?>
<Relationships xmlns="http://schemas.openxmlformats.org/package/2006/relationships"><Relationship Id="rId3" Type="http://schemas.openxmlformats.org/officeDocument/2006/relationships/image" Target="../media/image160.wmf"/><Relationship Id="rId2" Type="http://schemas.openxmlformats.org/officeDocument/2006/relationships/oleObject" Target="../embeddings/oleObject18.bin"/><Relationship Id="rId1" Type="http://schemas.openxmlformats.org/officeDocument/2006/relationships/slideLayout" Target="../slideLayouts/slideLayout23.xml"/><Relationship Id="rId5" Type="http://schemas.openxmlformats.org/officeDocument/2006/relationships/image" Target="../media/image161.wmf"/><Relationship Id="rId4" Type="http://schemas.openxmlformats.org/officeDocument/2006/relationships/oleObject" Target="../embeddings/oleObject19.bin"/></Relationships>
</file>

<file path=ppt/slides/_rels/slide82.xml.rels><?xml version="1.0" encoding="UTF-8" standalone="yes"?>
<Relationships xmlns="http://schemas.openxmlformats.org/package/2006/relationships"><Relationship Id="rId2" Type="http://schemas.openxmlformats.org/officeDocument/2006/relationships/image" Target="../media/image162.jpeg"/><Relationship Id="rId1" Type="http://schemas.openxmlformats.org/officeDocument/2006/relationships/slideLayout" Target="../slideLayouts/slideLayout17.xml"/></Relationships>
</file>

<file path=ppt/slides/_rels/slide83.xml.rels><?xml version="1.0" encoding="UTF-8" standalone="yes"?>
<Relationships xmlns="http://schemas.openxmlformats.org/package/2006/relationships"><Relationship Id="rId2" Type="http://schemas.openxmlformats.org/officeDocument/2006/relationships/image" Target="../media/image163.jpg"/><Relationship Id="rId1" Type="http://schemas.openxmlformats.org/officeDocument/2006/relationships/slideLayout" Target="../slideLayouts/slideLayout17.xml"/></Relationships>
</file>

<file path=ppt/slides/_rels/slide84.xml.rels><?xml version="1.0" encoding="UTF-8" standalone="yes"?>
<Relationships xmlns="http://schemas.openxmlformats.org/package/2006/relationships"><Relationship Id="rId2" Type="http://schemas.openxmlformats.org/officeDocument/2006/relationships/image" Target="../media/image164.jpeg"/><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png"/><Relationship Id="rId1" Type="http://schemas.openxmlformats.org/officeDocument/2006/relationships/slideLayout" Target="../slideLayouts/slideLayout22.xml"/></Relationships>
</file>

<file path=ppt/slides/_rels/slide86.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67.png"/><Relationship Id="rId1" Type="http://schemas.openxmlformats.org/officeDocument/2006/relationships/slideLayout" Target="../slideLayouts/slideLayout18.xml"/></Relationships>
</file>

<file path=ppt/slides/_rels/slide87.xml.rels><?xml version="1.0" encoding="UTF-8" standalone="yes"?>
<Relationships xmlns="http://schemas.openxmlformats.org/package/2006/relationships"><Relationship Id="rId3" Type="http://schemas.openxmlformats.org/officeDocument/2006/relationships/image" Target="../media/image169.jpeg"/><Relationship Id="rId2" Type="http://schemas.openxmlformats.org/officeDocument/2006/relationships/image" Target="../media/image168.jpeg"/><Relationship Id="rId1" Type="http://schemas.openxmlformats.org/officeDocument/2006/relationships/slideLayout" Target="../slideLayouts/slideLayout23.xml"/><Relationship Id="rId4" Type="http://schemas.openxmlformats.org/officeDocument/2006/relationships/image" Target="../media/image170.jpeg"/></Relationships>
</file>

<file path=ppt/slides/_rels/slide88.xml.rels><?xml version="1.0" encoding="UTF-8" standalone="yes"?>
<Relationships xmlns="http://schemas.openxmlformats.org/package/2006/relationships"><Relationship Id="rId3" Type="http://schemas.openxmlformats.org/officeDocument/2006/relationships/image" Target="../media/image172.jpeg"/><Relationship Id="rId2" Type="http://schemas.openxmlformats.org/officeDocument/2006/relationships/image" Target="../media/image171.jpeg"/><Relationship Id="rId1" Type="http://schemas.openxmlformats.org/officeDocument/2006/relationships/slideLayout" Target="../slideLayouts/slideLayout23.xml"/><Relationship Id="rId4" Type="http://schemas.openxmlformats.org/officeDocument/2006/relationships/image" Target="../media/image173.jpeg"/></Relationships>
</file>

<file path=ppt/slides/_rels/slide89.xml.rels><?xml version="1.0" encoding="UTF-8" standalone="yes"?>
<Relationships xmlns="http://schemas.openxmlformats.org/package/2006/relationships"><Relationship Id="rId3" Type="http://schemas.openxmlformats.org/officeDocument/2006/relationships/image" Target="../media/image174.jpeg"/><Relationship Id="rId2" Type="http://schemas.openxmlformats.org/officeDocument/2006/relationships/slideLayout" Target="../slideLayouts/slideLayout23.xml"/><Relationship Id="rId1" Type="http://schemas.openxmlformats.org/officeDocument/2006/relationships/video" Target="https://www.youtube.com/embed/Cxg7iOSD6Sk?feature=oembed"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Layout" Target="../slideLayouts/slideLayout23.xml"/><Relationship Id="rId1" Type="http://schemas.openxmlformats.org/officeDocument/2006/relationships/video" Target="https://www.youtube.com/embed/ARrMcsX8FI0?feature=oembed" TargetMode="External"/></Relationships>
</file>

<file path=ppt/slides/_rels/slide90.xml.rels><?xml version="1.0" encoding="UTF-8" standalone="yes"?>
<Relationships xmlns="http://schemas.openxmlformats.org/package/2006/relationships"><Relationship Id="rId3" Type="http://schemas.openxmlformats.org/officeDocument/2006/relationships/image" Target="../media/image176.jpeg"/><Relationship Id="rId2" Type="http://schemas.openxmlformats.org/officeDocument/2006/relationships/image" Target="../media/image175.jpeg"/><Relationship Id="rId1" Type="http://schemas.openxmlformats.org/officeDocument/2006/relationships/slideLayout" Target="../slideLayouts/slideLayout18.xml"/></Relationships>
</file>

<file path=ppt/slides/_rels/slide91.xml.rels><?xml version="1.0" encoding="UTF-8" standalone="yes"?>
<Relationships xmlns="http://schemas.openxmlformats.org/package/2006/relationships"><Relationship Id="rId2" Type="http://schemas.openxmlformats.org/officeDocument/2006/relationships/image" Target="../media/image177.jpeg"/><Relationship Id="rId1" Type="http://schemas.openxmlformats.org/officeDocument/2006/relationships/slideLayout" Target="../slideLayouts/slideLayout23.xml"/></Relationships>
</file>

<file path=ppt/slides/_rels/slide92.xml.rels><?xml version="1.0" encoding="UTF-8" standalone="yes"?>
<Relationships xmlns="http://schemas.openxmlformats.org/package/2006/relationships"><Relationship Id="rId3" Type="http://schemas.openxmlformats.org/officeDocument/2006/relationships/image" Target="../media/image178.jpeg"/><Relationship Id="rId2" Type="http://schemas.openxmlformats.org/officeDocument/2006/relationships/slideLayout" Target="../slideLayouts/slideLayout23.xml"/><Relationship Id="rId1" Type="http://schemas.openxmlformats.org/officeDocument/2006/relationships/video" Target="https://www.youtube.com/embed/-Y1ZpEikZ5U?feature=oembed" TargetMode="External"/></Relationships>
</file>

<file path=ppt/slides/_rels/slide93.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8.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94.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8.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95.xml.rels><?xml version="1.0" encoding="UTF-8" standalone="yes"?>
<Relationships xmlns="http://schemas.openxmlformats.org/package/2006/relationships"><Relationship Id="rId2" Type="http://schemas.openxmlformats.org/officeDocument/2006/relationships/image" Target="../media/image179.jpeg"/><Relationship Id="rId1" Type="http://schemas.openxmlformats.org/officeDocument/2006/relationships/slideLayout" Target="../slideLayouts/slideLayout17.xml"/></Relationships>
</file>

<file path=ppt/slides/_rels/slide96.xml.rels><?xml version="1.0" encoding="UTF-8" standalone="yes"?>
<Relationships xmlns="http://schemas.openxmlformats.org/package/2006/relationships"><Relationship Id="rId8" Type="http://schemas.openxmlformats.org/officeDocument/2006/relationships/image" Target="../media/image186.jpeg"/><Relationship Id="rId3" Type="http://schemas.openxmlformats.org/officeDocument/2006/relationships/image" Target="../media/image181.jpeg"/><Relationship Id="rId7" Type="http://schemas.openxmlformats.org/officeDocument/2006/relationships/image" Target="../media/image185.jpeg"/><Relationship Id="rId2" Type="http://schemas.openxmlformats.org/officeDocument/2006/relationships/image" Target="../media/image180.jpeg"/><Relationship Id="rId1" Type="http://schemas.openxmlformats.org/officeDocument/2006/relationships/slideLayout" Target="../slideLayouts/slideLayout23.xml"/><Relationship Id="rId6" Type="http://schemas.openxmlformats.org/officeDocument/2006/relationships/image" Target="../media/image184.jpeg"/><Relationship Id="rId5" Type="http://schemas.openxmlformats.org/officeDocument/2006/relationships/image" Target="../media/image183.png"/><Relationship Id="rId4" Type="http://schemas.openxmlformats.org/officeDocument/2006/relationships/image" Target="../media/image182.png"/><Relationship Id="rId9" Type="http://schemas.openxmlformats.org/officeDocument/2006/relationships/image" Target="../media/image187.jpeg"/></Relationships>
</file>

<file path=ppt/slides/_rels/slide97.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image" Target="../media/image188.jpeg"/><Relationship Id="rId1" Type="http://schemas.openxmlformats.org/officeDocument/2006/relationships/slideLayout" Target="../slideLayouts/slideLayout18.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98.xml.rels><?xml version="1.0" encoding="UTF-8" standalone="yes"?>
<Relationships xmlns="http://schemas.openxmlformats.org/package/2006/relationships"><Relationship Id="rId8" Type="http://schemas.openxmlformats.org/officeDocument/2006/relationships/image" Target="../media/image202.jpeg"/><Relationship Id="rId3" Type="http://schemas.openxmlformats.org/officeDocument/2006/relationships/image" Target="../media/image198.png"/><Relationship Id="rId7" Type="http://schemas.openxmlformats.org/officeDocument/2006/relationships/image" Target="../media/image201.jpeg"/><Relationship Id="rId2" Type="http://schemas.openxmlformats.org/officeDocument/2006/relationships/image" Target="../media/image197.jpeg"/><Relationship Id="rId1" Type="http://schemas.openxmlformats.org/officeDocument/2006/relationships/slideLayout" Target="../slideLayouts/slideLayout18.xml"/><Relationship Id="rId6" Type="http://schemas.openxmlformats.org/officeDocument/2006/relationships/image" Target="../media/image200.jpeg"/><Relationship Id="rId5" Type="http://schemas.openxmlformats.org/officeDocument/2006/relationships/image" Target="../media/image10.jpeg"/><Relationship Id="rId4" Type="http://schemas.openxmlformats.org/officeDocument/2006/relationships/image" Target="../media/image199.jpeg"/><Relationship Id="rId9" Type="http://schemas.openxmlformats.org/officeDocument/2006/relationships/image" Target="../media/image203.jpeg"/></Relationships>
</file>

<file path=ppt/slides/_rels/slide99.xml.rels><?xml version="1.0" encoding="UTF-8" standalone="yes"?>
<Relationships xmlns="http://schemas.openxmlformats.org/package/2006/relationships"><Relationship Id="rId3" Type="http://schemas.openxmlformats.org/officeDocument/2006/relationships/image" Target="../media/image205.jpeg"/><Relationship Id="rId2" Type="http://schemas.openxmlformats.org/officeDocument/2006/relationships/image" Target="../media/image204.jpeg"/><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11" name="Titre 1">
            <a:extLst>
              <a:ext uri="{FF2B5EF4-FFF2-40B4-BE49-F238E27FC236}">
                <a16:creationId xmlns:a16="http://schemas.microsoft.com/office/drawing/2014/main" id="{2293CBE9-DF50-4352-BC04-631C35EF9B20}"/>
              </a:ext>
            </a:extLst>
          </p:cNvPr>
          <p:cNvSpPr>
            <a:spLocks noGrp="1"/>
          </p:cNvSpPr>
          <p:nvPr>
            <p:ph type="ctrTitle"/>
          </p:nvPr>
        </p:nvSpPr>
        <p:spPr>
          <a:xfrm>
            <a:off x="4414658" y="1271763"/>
            <a:ext cx="6301698" cy="3566160"/>
          </a:xfrm>
        </p:spPr>
        <p:txBody>
          <a:bodyPr>
            <a:normAutofit/>
          </a:bodyPr>
          <a:lstStyle/>
          <a:p>
            <a:pPr algn="ctr"/>
            <a:r>
              <a:rPr lang="fr-FR" sz="3600" b="1" dirty="0">
                <a:solidFill>
                  <a:schemeClr val="bg1"/>
                </a:solidFill>
              </a:rPr>
              <a:t>Commercial Business </a:t>
            </a:r>
            <a:r>
              <a:rPr lang="fr-FR" sz="3600" b="1" dirty="0" err="1">
                <a:solidFill>
                  <a:schemeClr val="bg1"/>
                </a:solidFill>
              </a:rPr>
              <a:t>Strategies</a:t>
            </a:r>
            <a:r>
              <a:rPr lang="fr-FR" sz="3600" b="1" dirty="0">
                <a:solidFill>
                  <a:schemeClr val="bg1"/>
                </a:solidFill>
              </a:rPr>
              <a:t> in Sport </a:t>
            </a:r>
            <a:r>
              <a:rPr lang="fr-FR" sz="3600" b="1" i="1" dirty="0">
                <a:solidFill>
                  <a:schemeClr val="bg1"/>
                </a:solidFill>
              </a:rPr>
              <a:t>Organisations</a:t>
            </a:r>
            <a:br>
              <a:rPr lang="fr-FR" sz="3600" b="1" dirty="0">
                <a:solidFill>
                  <a:schemeClr val="bg1"/>
                </a:solidFill>
              </a:rPr>
            </a:br>
            <a:br>
              <a:rPr lang="fr-FR" sz="3600" b="1" dirty="0">
                <a:solidFill>
                  <a:schemeClr val="bg1"/>
                </a:solidFill>
              </a:rPr>
            </a:br>
            <a:r>
              <a:rPr lang="fr-FR" sz="2400" b="1" dirty="0">
                <a:solidFill>
                  <a:schemeClr val="bg1"/>
                </a:solidFill>
              </a:rPr>
              <a:t>lionelmaltese.fr </a:t>
            </a:r>
            <a:br>
              <a:rPr lang="fr-FR" sz="2400" b="1" dirty="0">
                <a:solidFill>
                  <a:schemeClr val="bg1"/>
                </a:solidFill>
              </a:rPr>
            </a:br>
            <a:r>
              <a:rPr lang="fr-FR" sz="2400" b="1" dirty="0">
                <a:solidFill>
                  <a:schemeClr val="bg1"/>
                </a:solidFill>
              </a:rPr>
              <a:t>@</a:t>
            </a:r>
            <a:r>
              <a:rPr lang="fr-FR" sz="2400" b="1" dirty="0" err="1">
                <a:solidFill>
                  <a:schemeClr val="bg1"/>
                </a:solidFill>
              </a:rPr>
              <a:t>lionelmaltese</a:t>
            </a:r>
            <a:endParaRPr lang="fr-FR" sz="2400" b="1" dirty="0">
              <a:solidFill>
                <a:schemeClr val="bg1"/>
              </a:solidFill>
            </a:endParaRPr>
          </a:p>
        </p:txBody>
      </p:sp>
      <p:sp>
        <p:nvSpPr>
          <p:cNvPr id="12" name="ZoneTexte 11">
            <a:extLst>
              <a:ext uri="{FF2B5EF4-FFF2-40B4-BE49-F238E27FC236}">
                <a16:creationId xmlns:a16="http://schemas.microsoft.com/office/drawing/2014/main" id="{3BC3DAEE-1D37-45D7-9DA2-68B79E87FEB2}"/>
              </a:ext>
            </a:extLst>
          </p:cNvPr>
          <p:cNvSpPr txBox="1"/>
          <p:nvPr/>
        </p:nvSpPr>
        <p:spPr>
          <a:xfrm>
            <a:off x="7205608" y="0"/>
            <a:ext cx="1318054" cy="369332"/>
          </a:xfrm>
          <a:prstGeom prst="rect">
            <a:avLst/>
          </a:prstGeom>
          <a:noFill/>
        </p:spPr>
        <p:txBody>
          <a:bodyPr wrap="square" rtlCol="0">
            <a:spAutoFit/>
          </a:bodyPr>
          <a:lstStyle/>
          <a:p>
            <a:pPr algn="ctr"/>
            <a:r>
              <a:rPr lang="fr-FR" b="1" i="1" dirty="0">
                <a:solidFill>
                  <a:schemeClr val="bg1"/>
                </a:solidFill>
              </a:rPr>
              <a:t>Lecture 2</a:t>
            </a:r>
          </a:p>
        </p:txBody>
      </p:sp>
      <p:sp>
        <p:nvSpPr>
          <p:cNvPr id="13" name="ZoneTexte 12">
            <a:extLst>
              <a:ext uri="{FF2B5EF4-FFF2-40B4-BE49-F238E27FC236}">
                <a16:creationId xmlns:a16="http://schemas.microsoft.com/office/drawing/2014/main" id="{54358186-22FA-4F2E-8549-C80BC8C3CB24}"/>
              </a:ext>
            </a:extLst>
          </p:cNvPr>
          <p:cNvSpPr txBox="1"/>
          <p:nvPr/>
        </p:nvSpPr>
        <p:spPr>
          <a:xfrm>
            <a:off x="1306285" y="5231126"/>
            <a:ext cx="11667744" cy="1815882"/>
          </a:xfrm>
          <a:prstGeom prst="rect">
            <a:avLst/>
          </a:prstGeom>
          <a:noFill/>
        </p:spPr>
        <p:txBody>
          <a:bodyPr wrap="square">
            <a:spAutoFit/>
          </a:bodyPr>
          <a:lstStyle/>
          <a:p>
            <a:pPr algn="ctr"/>
            <a:r>
              <a:rPr lang="fr-FR" sz="1600" b="1" dirty="0">
                <a:solidFill>
                  <a:schemeClr val="bg1"/>
                </a:solidFill>
              </a:rPr>
              <a:t>Lionel Maltese</a:t>
            </a:r>
            <a:br>
              <a:rPr lang="fr-FR" sz="1600" b="1" dirty="0">
                <a:solidFill>
                  <a:schemeClr val="bg1"/>
                </a:solidFill>
              </a:rPr>
            </a:br>
            <a:r>
              <a:rPr lang="fr-FR" sz="1600" b="1" dirty="0">
                <a:solidFill>
                  <a:schemeClr val="bg1"/>
                </a:solidFill>
              </a:rPr>
              <a:t>Maître de Conférences Aix Marseille </a:t>
            </a:r>
            <a:r>
              <a:rPr lang="fr-FR" sz="1600" b="1" dirty="0" err="1">
                <a:solidFill>
                  <a:schemeClr val="bg1"/>
                </a:solidFill>
              </a:rPr>
              <a:t>University</a:t>
            </a:r>
            <a:r>
              <a:rPr lang="fr-FR" sz="1600" b="1" dirty="0">
                <a:solidFill>
                  <a:schemeClr val="bg1"/>
                </a:solidFill>
              </a:rPr>
              <a:t> – CERGAM IAE Aix-en-Provence - #OIMS Laval </a:t>
            </a:r>
            <a:r>
              <a:rPr lang="fr-FR" sz="1600" b="1" dirty="0" err="1">
                <a:solidFill>
                  <a:schemeClr val="bg1"/>
                </a:solidFill>
              </a:rPr>
              <a:t>University</a:t>
            </a:r>
            <a:r>
              <a:rPr lang="fr-FR" sz="1600" b="1" dirty="0">
                <a:solidFill>
                  <a:schemeClr val="bg1"/>
                </a:solidFill>
              </a:rPr>
              <a:t> Canada</a:t>
            </a:r>
            <a:br>
              <a:rPr lang="fr-FR" sz="1600" b="1" dirty="0">
                <a:solidFill>
                  <a:schemeClr val="bg1"/>
                </a:solidFill>
              </a:rPr>
            </a:br>
            <a:r>
              <a:rPr lang="fr-FR" sz="1600" b="1" dirty="0">
                <a:solidFill>
                  <a:schemeClr val="bg1"/>
                </a:solidFill>
              </a:rPr>
              <a:t>Associate Professor Sport Business Management Kedge Business </a:t>
            </a:r>
            <a:r>
              <a:rPr lang="fr-FR" sz="1600" b="1" dirty="0" err="1">
                <a:solidFill>
                  <a:schemeClr val="bg1"/>
                </a:solidFill>
              </a:rPr>
              <a:t>School</a:t>
            </a:r>
            <a:br>
              <a:rPr lang="fr-FR" sz="1600" b="1">
                <a:solidFill>
                  <a:schemeClr val="bg1"/>
                </a:solidFill>
              </a:rPr>
            </a:br>
            <a:r>
              <a:rPr lang="fr-FR" sz="1600" b="1">
                <a:solidFill>
                  <a:schemeClr val="bg1"/>
                </a:solidFill>
              </a:rPr>
              <a:t>Senior </a:t>
            </a:r>
            <a:r>
              <a:rPr lang="fr-FR" sz="1600" b="1" dirty="0">
                <a:solidFill>
                  <a:schemeClr val="bg1"/>
                </a:solidFill>
              </a:rPr>
              <a:t>consulting sport business management</a:t>
            </a:r>
            <a:br>
              <a:rPr lang="fr-FR" sz="1600" b="1" dirty="0">
                <a:solidFill>
                  <a:schemeClr val="bg1"/>
                </a:solidFill>
              </a:rPr>
            </a:br>
            <a:br>
              <a:rPr lang="fr-FR" sz="1600" b="1" dirty="0">
                <a:solidFill>
                  <a:schemeClr val="bg1"/>
                </a:solidFill>
              </a:rPr>
            </a:br>
            <a:r>
              <a:rPr lang="fr-FR" sz="1600" b="1" dirty="0">
                <a:solidFill>
                  <a:schemeClr val="bg1"/>
                </a:solidFill>
              </a:rPr>
              <a:t>Twitter : @lionelmaltese</a:t>
            </a:r>
            <a:br>
              <a:rPr lang="fr-FR" sz="1600" dirty="0"/>
            </a:br>
            <a:endParaRPr lang="fr-FR" sz="1600" dirty="0"/>
          </a:p>
        </p:txBody>
      </p:sp>
    </p:spTree>
    <p:extLst>
      <p:ext uri="{BB962C8B-B14F-4D97-AF65-F5344CB8AC3E}">
        <p14:creationId xmlns:p14="http://schemas.microsoft.com/office/powerpoint/2010/main" val="21626766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Image 4" descr="Une image contenant texte&#10;&#10;Description générée automatiquement">
            <a:extLst>
              <a:ext uri="{FF2B5EF4-FFF2-40B4-BE49-F238E27FC236}">
                <a16:creationId xmlns:a16="http://schemas.microsoft.com/office/drawing/2014/main" id="{3EF6F3B9-DAA5-46A8-BBD6-7B932768ECF1}"/>
              </a:ext>
            </a:extLst>
          </p:cNvPr>
          <p:cNvPicPr>
            <a:picLocks noChangeAspect="1"/>
          </p:cNvPicPr>
          <p:nvPr/>
        </p:nvPicPr>
        <p:blipFill>
          <a:blip r:embed="rId2"/>
          <a:stretch>
            <a:fillRect/>
          </a:stretch>
        </p:blipFill>
        <p:spPr>
          <a:xfrm>
            <a:off x="455349" y="1938850"/>
            <a:ext cx="4005068" cy="2170843"/>
          </a:xfrm>
          <a:prstGeom prst="rect">
            <a:avLst/>
          </a:prstGeom>
        </p:spPr>
      </p:pic>
      <p:pic>
        <p:nvPicPr>
          <p:cNvPr id="7" name="Image 6" descr="Une image contenant intérieur, assis&#10;&#10;Description générée automatiquement">
            <a:extLst>
              <a:ext uri="{FF2B5EF4-FFF2-40B4-BE49-F238E27FC236}">
                <a16:creationId xmlns:a16="http://schemas.microsoft.com/office/drawing/2014/main" id="{C18B85EA-5303-4892-B619-E38E12DD4697}"/>
              </a:ext>
            </a:extLst>
          </p:cNvPr>
          <p:cNvPicPr>
            <a:picLocks noChangeAspect="1"/>
          </p:cNvPicPr>
          <p:nvPr/>
        </p:nvPicPr>
        <p:blipFill>
          <a:blip r:embed="rId3"/>
          <a:stretch>
            <a:fillRect/>
          </a:stretch>
        </p:blipFill>
        <p:spPr>
          <a:xfrm>
            <a:off x="4054150" y="1600455"/>
            <a:ext cx="4083699" cy="2233273"/>
          </a:xfrm>
          <a:prstGeom prst="rect">
            <a:avLst/>
          </a:prstGeom>
        </p:spPr>
      </p:pic>
      <p:pic>
        <p:nvPicPr>
          <p:cNvPr id="9" name="Image 8" descr="Une image contenant table&#10;&#10;Description générée automatiquement">
            <a:extLst>
              <a:ext uri="{FF2B5EF4-FFF2-40B4-BE49-F238E27FC236}">
                <a16:creationId xmlns:a16="http://schemas.microsoft.com/office/drawing/2014/main" id="{6759D317-588D-4BD7-8A65-E42A3ED2A7CC}"/>
              </a:ext>
            </a:extLst>
          </p:cNvPr>
          <p:cNvPicPr>
            <a:picLocks noChangeAspect="1"/>
          </p:cNvPicPr>
          <p:nvPr/>
        </p:nvPicPr>
        <p:blipFill>
          <a:blip r:embed="rId4"/>
          <a:stretch>
            <a:fillRect/>
          </a:stretch>
        </p:blipFill>
        <p:spPr>
          <a:xfrm>
            <a:off x="7948910" y="1515711"/>
            <a:ext cx="4083699" cy="2220468"/>
          </a:xfrm>
          <a:prstGeom prst="rect">
            <a:avLst/>
          </a:prstGeom>
        </p:spPr>
      </p:pic>
      <p:pic>
        <p:nvPicPr>
          <p:cNvPr id="11" name="Image 10" descr="Une image contenant carte de visite, texte&#10;&#10;Description générée automatiquement">
            <a:extLst>
              <a:ext uri="{FF2B5EF4-FFF2-40B4-BE49-F238E27FC236}">
                <a16:creationId xmlns:a16="http://schemas.microsoft.com/office/drawing/2014/main" id="{B5B212B8-87CC-4DF1-882B-9EF19449D5D8}"/>
              </a:ext>
            </a:extLst>
          </p:cNvPr>
          <p:cNvPicPr>
            <a:picLocks noChangeAspect="1"/>
          </p:cNvPicPr>
          <p:nvPr/>
        </p:nvPicPr>
        <p:blipFill>
          <a:blip r:embed="rId5"/>
          <a:stretch>
            <a:fillRect/>
          </a:stretch>
        </p:blipFill>
        <p:spPr>
          <a:xfrm>
            <a:off x="3199240" y="3833728"/>
            <a:ext cx="4532345" cy="2467955"/>
          </a:xfrm>
          <a:prstGeom prst="rect">
            <a:avLst/>
          </a:prstGeom>
        </p:spPr>
      </p:pic>
      <p:pic>
        <p:nvPicPr>
          <p:cNvPr id="12" name="Image 11">
            <a:extLst>
              <a:ext uri="{FF2B5EF4-FFF2-40B4-BE49-F238E27FC236}">
                <a16:creationId xmlns:a16="http://schemas.microsoft.com/office/drawing/2014/main" id="{BBCA4385-BD10-4F07-9007-6CA58537E6E8}"/>
              </a:ext>
            </a:extLst>
          </p:cNvPr>
          <p:cNvPicPr>
            <a:picLocks noChangeAspect="1"/>
          </p:cNvPicPr>
          <p:nvPr/>
        </p:nvPicPr>
        <p:blipFill>
          <a:blip r:embed="rId6"/>
          <a:stretch>
            <a:fillRect/>
          </a:stretch>
        </p:blipFill>
        <p:spPr>
          <a:xfrm>
            <a:off x="6973132" y="348701"/>
            <a:ext cx="2539576" cy="1043267"/>
          </a:xfrm>
          <a:prstGeom prst="rect">
            <a:avLst/>
          </a:prstGeom>
        </p:spPr>
      </p:pic>
      <p:sp>
        <p:nvSpPr>
          <p:cNvPr id="13" name="ZoneTexte 12">
            <a:extLst>
              <a:ext uri="{FF2B5EF4-FFF2-40B4-BE49-F238E27FC236}">
                <a16:creationId xmlns:a16="http://schemas.microsoft.com/office/drawing/2014/main" id="{515E4DD5-6611-47AC-B963-64D9FD0B4F5C}"/>
              </a:ext>
            </a:extLst>
          </p:cNvPr>
          <p:cNvSpPr txBox="1"/>
          <p:nvPr/>
        </p:nvSpPr>
        <p:spPr>
          <a:xfrm>
            <a:off x="1384183" y="376305"/>
            <a:ext cx="6152469" cy="1015663"/>
          </a:xfrm>
          <a:prstGeom prst="rect">
            <a:avLst/>
          </a:prstGeom>
          <a:noFill/>
        </p:spPr>
        <p:txBody>
          <a:bodyPr wrap="square" rtlCol="0">
            <a:spAutoFit/>
          </a:bodyPr>
          <a:lstStyle/>
          <a:p>
            <a:r>
              <a:rPr lang="fr-FR" sz="6000" dirty="0">
                <a:solidFill>
                  <a:srgbClr val="FF0000"/>
                </a:solidFill>
                <a:latin typeface="Aharoni" panose="02010803020104030203" pitchFamily="2" charset="-79"/>
                <a:cs typeface="Aharoni" panose="02010803020104030203" pitchFamily="2" charset="-79"/>
              </a:rPr>
              <a:t>BE AN INSIDE</a:t>
            </a:r>
          </a:p>
        </p:txBody>
      </p:sp>
    </p:spTree>
    <p:extLst>
      <p:ext uri="{BB962C8B-B14F-4D97-AF65-F5344CB8AC3E}">
        <p14:creationId xmlns:p14="http://schemas.microsoft.com/office/powerpoint/2010/main" val="384035042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Image 5"/>
          <p:cNvPicPr>
            <a:picLocks noChangeAspect="1"/>
          </p:cNvPicPr>
          <p:nvPr/>
        </p:nvPicPr>
        <p:blipFill rotWithShape="1">
          <a:blip r:embed="rId2">
            <a:extLst>
              <a:ext uri="{28A0092B-C50C-407E-A947-70E740481C1C}">
                <a14:useLocalDpi xmlns:a14="http://schemas.microsoft.com/office/drawing/2010/main" val="0"/>
              </a:ext>
            </a:extLst>
          </a:blip>
          <a:srcRect l="991" r="11419" b="-1"/>
          <a:stretch/>
        </p:blipFill>
        <p:spPr>
          <a:xfrm>
            <a:off x="643467" y="643467"/>
            <a:ext cx="5372099" cy="5571066"/>
          </a:xfrm>
          <a:prstGeom prst="rect">
            <a:avLst/>
          </a:prstGeom>
        </p:spPr>
      </p:pic>
      <p:pic>
        <p:nvPicPr>
          <p:cNvPr id="4" name="Image 3"/>
          <p:cNvPicPr>
            <a:picLocks noChangeAspect="1"/>
          </p:cNvPicPr>
          <p:nvPr/>
        </p:nvPicPr>
        <p:blipFill rotWithShape="1">
          <a:blip r:embed="rId3">
            <a:extLst>
              <a:ext uri="{28A0092B-C50C-407E-A947-70E740481C1C}">
                <a14:useLocalDpi xmlns:a14="http://schemas.microsoft.com/office/drawing/2010/main" val="0"/>
              </a:ext>
            </a:extLst>
          </a:blip>
          <a:srcRect r="-1" b="4770"/>
          <a:stretch/>
        </p:blipFill>
        <p:spPr>
          <a:xfrm>
            <a:off x="6176433" y="640927"/>
            <a:ext cx="5372099" cy="5571066"/>
          </a:xfrm>
          <a:prstGeom prst="rect">
            <a:avLst/>
          </a:prstGeom>
          <a:scene3d>
            <a:camera prst="perspectiveRelaxed">
              <a:rot lat="19800000" lon="1200000" rev="20820000"/>
            </a:camera>
            <a:lightRig rig="threePt" dir="t"/>
          </a:scene3d>
          <a:sp3d contourW="6350" prstMaterial="matte">
            <a:bevelT w="101600" h="101600"/>
            <a:contourClr>
              <a:srgbClr val="969696"/>
            </a:contourClr>
          </a:sp3d>
        </p:spPr>
      </p:pic>
    </p:spTree>
    <p:extLst>
      <p:ext uri="{BB962C8B-B14F-4D97-AF65-F5344CB8AC3E}">
        <p14:creationId xmlns:p14="http://schemas.microsoft.com/office/powerpoint/2010/main" val="370969533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Espace réservé du contenu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81955" y="643466"/>
            <a:ext cx="7428089" cy="5571067"/>
          </a:xfrm>
          <a:prstGeom prst="rect">
            <a:avLst/>
          </a:prstGeom>
          <a:solidFill>
            <a:srgbClr val="FFFFFF">
              <a:shade val="85000"/>
            </a:srgbClr>
          </a:solidFill>
          <a:scene3d>
            <a:camera prst="perspectiveRelaxed">
              <a:rot lat="18960000" lon="0" rev="0"/>
            </a:camera>
            <a:lightRig rig="twoPt" dir="t">
              <a:rot lat="0" lon="0" rev="7200000"/>
            </a:lightRig>
          </a:scene3d>
          <a:sp3d prstMaterial="matte">
            <a:bevelT w="22860" h="12700"/>
            <a:contourClr>
              <a:srgbClr val="FFFFFF"/>
            </a:contourClr>
          </a:sp3d>
        </p:spPr>
      </p:pic>
    </p:spTree>
    <p:extLst>
      <p:ext uri="{BB962C8B-B14F-4D97-AF65-F5344CB8AC3E}">
        <p14:creationId xmlns:p14="http://schemas.microsoft.com/office/powerpoint/2010/main" val="32014423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61EBE88C-6B27-4E31-AB18-1F624F08A3F5}"/>
              </a:ext>
            </a:extLst>
          </p:cNvPr>
          <p:cNvPicPr>
            <a:picLocks noChangeAspect="1"/>
          </p:cNvPicPr>
          <p:nvPr/>
        </p:nvPicPr>
        <p:blipFill>
          <a:blip r:embed="rId2"/>
          <a:stretch>
            <a:fillRect/>
          </a:stretch>
        </p:blipFill>
        <p:spPr>
          <a:xfrm>
            <a:off x="643467" y="702733"/>
            <a:ext cx="10905066" cy="5452533"/>
          </a:xfrm>
          <a:prstGeom prst="rect">
            <a:avLst/>
          </a:prstGeom>
        </p:spPr>
      </p:pic>
    </p:spTree>
    <p:extLst>
      <p:ext uri="{BB962C8B-B14F-4D97-AF65-F5344CB8AC3E}">
        <p14:creationId xmlns:p14="http://schemas.microsoft.com/office/powerpoint/2010/main" val="190464085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Média en ligne 1" title="Leveraging and Activation - Sponsorship in Marketing Cornwell">
            <a:hlinkClick r:id="" action="ppaction://media"/>
            <a:extLst>
              <a:ext uri="{FF2B5EF4-FFF2-40B4-BE49-F238E27FC236}">
                <a16:creationId xmlns:a16="http://schemas.microsoft.com/office/drawing/2014/main" id="{9F04F432-3DD2-4DE6-A178-2CD286F5586B}"/>
              </a:ext>
            </a:extLst>
          </p:cNvPr>
          <p:cNvPicPr>
            <a:picLocks noRot="1" noChangeAspect="1"/>
          </p:cNvPicPr>
          <p:nvPr>
            <a:videoFile r:link="rId1"/>
          </p:nvPr>
        </p:nvPicPr>
        <p:blipFill>
          <a:blip r:embed="rId3"/>
          <a:stretch>
            <a:fillRect/>
          </a:stretch>
        </p:blipFill>
        <p:spPr>
          <a:xfrm>
            <a:off x="0" y="0"/>
            <a:ext cx="12192000" cy="6888480"/>
          </a:xfrm>
          <a:prstGeom prst="rect">
            <a:avLst/>
          </a:prstGeom>
        </p:spPr>
      </p:pic>
    </p:spTree>
    <p:extLst>
      <p:ext uri="{BB962C8B-B14F-4D97-AF65-F5344CB8AC3E}">
        <p14:creationId xmlns:p14="http://schemas.microsoft.com/office/powerpoint/2010/main" val="35392395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5AC5690-BD72-4C1A-B829-2F028014B60B}"/>
              </a:ext>
            </a:extLst>
          </p:cNvPr>
          <p:cNvSpPr>
            <a:spLocks noGrp="1"/>
          </p:cNvSpPr>
          <p:nvPr>
            <p:ph type="title"/>
          </p:nvPr>
        </p:nvSpPr>
        <p:spPr>
          <a:xfrm>
            <a:off x="5181601" y="634946"/>
            <a:ext cx="6368142" cy="1450757"/>
          </a:xfrm>
        </p:spPr>
        <p:txBody>
          <a:bodyPr>
            <a:normAutofit/>
          </a:bodyPr>
          <a:lstStyle/>
          <a:p>
            <a:pPr algn="ctr"/>
            <a:r>
              <a:rPr lang="fr-FR" sz="4600" b="1" dirty="0" err="1">
                <a:solidFill>
                  <a:srgbClr val="3A3C5C"/>
                </a:solidFill>
              </a:rPr>
              <a:t>PSG’s</a:t>
            </a:r>
            <a:r>
              <a:rPr lang="fr-FR" sz="4600" b="1" dirty="0">
                <a:solidFill>
                  <a:srgbClr val="3A3C5C"/>
                </a:solidFill>
              </a:rPr>
              <a:t> commercial </a:t>
            </a:r>
            <a:r>
              <a:rPr lang="fr-FR" sz="4600" b="1" dirty="0" err="1">
                <a:solidFill>
                  <a:srgbClr val="3A3C5C"/>
                </a:solidFill>
              </a:rPr>
              <a:t>strategy</a:t>
            </a:r>
            <a:r>
              <a:rPr lang="fr-FR" sz="4600" b="1" dirty="0">
                <a:solidFill>
                  <a:srgbClr val="3A3C5C"/>
                </a:solidFill>
              </a:rPr>
              <a:t> Jean Claude Blanc</a:t>
            </a:r>
          </a:p>
        </p:txBody>
      </p:sp>
      <p:sp>
        <p:nvSpPr>
          <p:cNvPr id="3" name="Espace réservé du contenu 2">
            <a:extLst>
              <a:ext uri="{FF2B5EF4-FFF2-40B4-BE49-F238E27FC236}">
                <a16:creationId xmlns:a16="http://schemas.microsoft.com/office/drawing/2014/main" id="{B1D5061A-37B5-4A8B-8AF6-C2F354F19335}"/>
              </a:ext>
            </a:extLst>
          </p:cNvPr>
          <p:cNvSpPr>
            <a:spLocks noGrp="1"/>
          </p:cNvSpPr>
          <p:nvPr>
            <p:ph idx="1"/>
          </p:nvPr>
        </p:nvSpPr>
        <p:spPr>
          <a:xfrm>
            <a:off x="5181601" y="2198914"/>
            <a:ext cx="6368142" cy="3670180"/>
          </a:xfrm>
        </p:spPr>
        <p:txBody>
          <a:bodyPr>
            <a:normAutofit fontScale="85000" lnSpcReduction="20000"/>
          </a:bodyPr>
          <a:lstStyle/>
          <a:p>
            <a:pPr fontAlgn="base"/>
            <a:r>
              <a:rPr lang="en-US" dirty="0"/>
              <a:t>HOW DO YOU CHOOSE YOUR PARTNERS?</a:t>
            </a:r>
          </a:p>
          <a:p>
            <a:pPr fontAlgn="base"/>
            <a:r>
              <a:rPr lang="en-US" dirty="0"/>
              <a:t>“Each club has its own commercial strategy, we have chosen to </a:t>
            </a:r>
            <a:r>
              <a:rPr lang="en-US" dirty="0">
                <a:solidFill>
                  <a:srgbClr val="FF0000"/>
                </a:solidFill>
              </a:rPr>
              <a:t>reduce the number of brands to increase their value</a:t>
            </a:r>
            <a:r>
              <a:rPr lang="en-US" dirty="0"/>
              <a:t> and give them very strong exclusives. It is about visibility outside of field, the use of the players’ image, and access to the club’s digital platform or hospitality services developed year-round. We are looking for active partners, developing and aligned with our values. We are premium in terms of cost because of the fact that there are very few places to join PSG.</a:t>
            </a:r>
          </a:p>
          <a:p>
            <a:endParaRPr lang="fr-FR" dirty="0"/>
          </a:p>
        </p:txBody>
      </p:sp>
      <p:pic>
        <p:nvPicPr>
          <p:cNvPr id="17410" name="Picture 2">
            <a:extLst>
              <a:ext uri="{FF2B5EF4-FFF2-40B4-BE49-F238E27FC236}">
                <a16:creationId xmlns:a16="http://schemas.microsoft.com/office/drawing/2014/main" id="{F59DAECF-42E2-4236-9D81-5BF254D0AA0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0321" r="1572"/>
          <a:stretch/>
        </p:blipFill>
        <p:spPr bwMode="auto">
          <a:xfrm>
            <a:off x="20" y="-12128"/>
            <a:ext cx="4654276" cy="6870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69664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1"/>
          <p:cNvSpPr>
            <a:spLocks noGrp="1"/>
          </p:cNvSpPr>
          <p:nvPr>
            <p:ph type="title"/>
          </p:nvPr>
        </p:nvSpPr>
        <p:spPr>
          <a:xfrm>
            <a:off x="292274" y="283923"/>
            <a:ext cx="11615804" cy="1027135"/>
          </a:xfrm>
        </p:spPr>
        <p:txBody>
          <a:bodyPr/>
          <a:lstStyle/>
          <a:p>
            <a:r>
              <a:rPr lang="en-GB" b="1" dirty="0"/>
              <a:t>NOW TRENDING IN THE SPONSORSHIP WORLD</a:t>
            </a:r>
          </a:p>
        </p:txBody>
      </p:sp>
      <p:grpSp>
        <p:nvGrpSpPr>
          <p:cNvPr id="5" name="Group 3"/>
          <p:cNvGrpSpPr/>
          <p:nvPr/>
        </p:nvGrpSpPr>
        <p:grpSpPr>
          <a:xfrm>
            <a:off x="249281" y="1472361"/>
            <a:ext cx="8113824" cy="444204"/>
            <a:chOff x="223283" y="715926"/>
            <a:chExt cx="6085368" cy="333153"/>
          </a:xfrm>
        </p:grpSpPr>
        <p:grpSp>
          <p:nvGrpSpPr>
            <p:cNvPr id="6" name="Group 4"/>
            <p:cNvGrpSpPr/>
            <p:nvPr/>
          </p:nvGrpSpPr>
          <p:grpSpPr>
            <a:xfrm>
              <a:off x="223283" y="715926"/>
              <a:ext cx="6085368" cy="333153"/>
              <a:chOff x="223283" y="715926"/>
              <a:chExt cx="6085368" cy="333153"/>
            </a:xfrm>
          </p:grpSpPr>
          <p:sp>
            <p:nvSpPr>
              <p:cNvPr id="8" name="Rectangle: Rounded Corners 6"/>
              <p:cNvSpPr/>
              <p:nvPr/>
            </p:nvSpPr>
            <p:spPr>
              <a:xfrm>
                <a:off x="223283" y="715926"/>
                <a:ext cx="6085368" cy="333153"/>
              </a:xfrm>
              <a:prstGeom prst="round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schemeClr val="bg1"/>
                  </a:solidFill>
                </a:endParaRPr>
              </a:p>
            </p:txBody>
          </p:sp>
          <p:grpSp>
            <p:nvGrpSpPr>
              <p:cNvPr id="9" name="Group 7"/>
              <p:cNvGrpSpPr/>
              <p:nvPr/>
            </p:nvGrpSpPr>
            <p:grpSpPr>
              <a:xfrm>
                <a:off x="259096" y="737191"/>
                <a:ext cx="301575" cy="301574"/>
                <a:chOff x="364643" y="769477"/>
                <a:chExt cx="1058473" cy="1058473"/>
              </a:xfrm>
            </p:grpSpPr>
            <p:grpSp>
              <p:nvGrpSpPr>
                <p:cNvPr id="10" name="Group 8"/>
                <p:cNvGrpSpPr/>
                <p:nvPr/>
              </p:nvGrpSpPr>
              <p:grpSpPr>
                <a:xfrm>
                  <a:off x="364643" y="769477"/>
                  <a:ext cx="1058473" cy="1058473"/>
                  <a:chOff x="80433" y="2700870"/>
                  <a:chExt cx="3018366" cy="3018367"/>
                </a:xfrm>
              </p:grpSpPr>
              <p:pic>
                <p:nvPicPr>
                  <p:cNvPr id="12"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433" y="2700870"/>
                    <a:ext cx="3018366" cy="3018367"/>
                  </a:xfrm>
                  <a:prstGeom prst="rect">
                    <a:avLst/>
                  </a:prstGeom>
                </p:spPr>
              </p:pic>
              <p:sp>
                <p:nvSpPr>
                  <p:cNvPr id="13" name="Oval 11"/>
                  <p:cNvSpPr/>
                  <p:nvPr/>
                </p:nvSpPr>
                <p:spPr>
                  <a:xfrm>
                    <a:off x="744701" y="3365132"/>
                    <a:ext cx="1689830" cy="16898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dirty="0">
                      <a:solidFill>
                        <a:schemeClr val="bg1"/>
                      </a:solidFill>
                    </a:endParaRPr>
                  </a:p>
                </p:txBody>
              </p:sp>
            </p:grpSp>
            <p:sp>
              <p:nvSpPr>
                <p:cNvPr id="11" name="Rectangle 10"/>
                <p:cNvSpPr/>
                <p:nvPr/>
              </p:nvSpPr>
              <p:spPr>
                <a:xfrm>
                  <a:off x="683830" y="920541"/>
                  <a:ext cx="420096" cy="756340"/>
                </a:xfrm>
                <a:prstGeom prst="rect">
                  <a:avLst/>
                </a:prstGeom>
              </p:spPr>
              <p:txBody>
                <a:bodyPr wrap="square" lIns="0" tIns="0" rIns="0" bIns="0" anchor="ctr" anchorCtr="0">
                  <a:spAutoFit/>
                </a:bodyPr>
                <a:lstStyle/>
                <a:p>
                  <a:pPr algn="ctr"/>
                  <a:r>
                    <a:rPr lang="en-GB" sz="1867" b="1" dirty="0">
                      <a:solidFill>
                        <a:schemeClr val="bg1"/>
                      </a:solidFill>
                    </a:rPr>
                    <a:t>1</a:t>
                  </a:r>
                </a:p>
              </p:txBody>
            </p:sp>
          </p:grpSp>
        </p:grpSp>
        <p:sp>
          <p:nvSpPr>
            <p:cNvPr id="7" name="Rectangle 6"/>
            <p:cNvSpPr/>
            <p:nvPr/>
          </p:nvSpPr>
          <p:spPr>
            <a:xfrm>
              <a:off x="572449" y="757098"/>
              <a:ext cx="5665318" cy="246173"/>
            </a:xfrm>
            <a:prstGeom prst="rect">
              <a:avLst/>
            </a:prstGeom>
          </p:spPr>
          <p:txBody>
            <a:bodyPr wrap="square" lIns="0" tIns="0" rIns="0" bIns="0" anchor="t" anchorCtr="0">
              <a:spAutoFit/>
            </a:bodyPr>
            <a:lstStyle/>
            <a:p>
              <a:r>
                <a:rPr lang="en-GB" sz="2133" b="1" dirty="0">
                  <a:solidFill>
                    <a:schemeClr val="bg1"/>
                  </a:solidFill>
                </a:rPr>
                <a:t>THE MARKETPLACE </a:t>
              </a:r>
              <a:r>
                <a:rPr lang="en-GB" sz="2133" i="1" dirty="0">
                  <a:solidFill>
                    <a:schemeClr val="bg1"/>
                  </a:solidFill>
                </a:rPr>
                <a:t>(AND RIGHTS FEES) </a:t>
              </a:r>
              <a:r>
                <a:rPr lang="en-GB" sz="2133" b="1" dirty="0">
                  <a:solidFill>
                    <a:schemeClr val="bg1"/>
                  </a:solidFill>
                </a:rPr>
                <a:t>CONTINUE TO GROW</a:t>
              </a:r>
            </a:p>
          </p:txBody>
        </p:sp>
      </p:grpSp>
      <p:grpSp>
        <p:nvGrpSpPr>
          <p:cNvPr id="14" name="Group 12"/>
          <p:cNvGrpSpPr/>
          <p:nvPr/>
        </p:nvGrpSpPr>
        <p:grpSpPr>
          <a:xfrm>
            <a:off x="754918" y="2108740"/>
            <a:ext cx="8524949" cy="444204"/>
            <a:chOff x="223283" y="715926"/>
            <a:chExt cx="6393712" cy="333153"/>
          </a:xfrm>
        </p:grpSpPr>
        <p:grpSp>
          <p:nvGrpSpPr>
            <p:cNvPr id="15" name="Group 13"/>
            <p:cNvGrpSpPr/>
            <p:nvPr/>
          </p:nvGrpSpPr>
          <p:grpSpPr>
            <a:xfrm>
              <a:off x="223283" y="715926"/>
              <a:ext cx="6358270" cy="333153"/>
              <a:chOff x="223283" y="715926"/>
              <a:chExt cx="6358270" cy="333153"/>
            </a:xfrm>
          </p:grpSpPr>
          <p:sp>
            <p:nvSpPr>
              <p:cNvPr id="17" name="Rectangle: Rounded Corners 15"/>
              <p:cNvSpPr/>
              <p:nvPr/>
            </p:nvSpPr>
            <p:spPr>
              <a:xfrm>
                <a:off x="223283" y="715926"/>
                <a:ext cx="6358270" cy="333153"/>
              </a:xfrm>
              <a:prstGeom prst="round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schemeClr val="bg1"/>
                  </a:solidFill>
                </a:endParaRPr>
              </a:p>
            </p:txBody>
          </p:sp>
          <p:grpSp>
            <p:nvGrpSpPr>
              <p:cNvPr id="18" name="Group 16"/>
              <p:cNvGrpSpPr/>
              <p:nvPr/>
            </p:nvGrpSpPr>
            <p:grpSpPr>
              <a:xfrm>
                <a:off x="259096" y="737191"/>
                <a:ext cx="301575" cy="301574"/>
                <a:chOff x="364643" y="769477"/>
                <a:chExt cx="1058473" cy="1058473"/>
              </a:xfrm>
            </p:grpSpPr>
            <p:grpSp>
              <p:nvGrpSpPr>
                <p:cNvPr id="19" name="Group 17"/>
                <p:cNvGrpSpPr/>
                <p:nvPr/>
              </p:nvGrpSpPr>
              <p:grpSpPr>
                <a:xfrm>
                  <a:off x="364643" y="769477"/>
                  <a:ext cx="1058473" cy="1058473"/>
                  <a:chOff x="80433" y="2700870"/>
                  <a:chExt cx="3018366" cy="3018367"/>
                </a:xfrm>
              </p:grpSpPr>
              <p:pic>
                <p:nvPicPr>
                  <p:cNvPr id="21" name="Picture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433" y="2700870"/>
                    <a:ext cx="3018366" cy="3018367"/>
                  </a:xfrm>
                  <a:prstGeom prst="rect">
                    <a:avLst/>
                  </a:prstGeom>
                </p:spPr>
              </p:pic>
              <p:sp>
                <p:nvSpPr>
                  <p:cNvPr id="22" name="Oval 20"/>
                  <p:cNvSpPr/>
                  <p:nvPr/>
                </p:nvSpPr>
                <p:spPr>
                  <a:xfrm>
                    <a:off x="744701" y="3365132"/>
                    <a:ext cx="1689830" cy="16898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dirty="0">
                      <a:solidFill>
                        <a:schemeClr val="bg1"/>
                      </a:solidFill>
                    </a:endParaRPr>
                  </a:p>
                </p:txBody>
              </p:sp>
            </p:grpSp>
            <p:sp>
              <p:nvSpPr>
                <p:cNvPr id="20" name="Rectangle 19"/>
                <p:cNvSpPr/>
                <p:nvPr/>
              </p:nvSpPr>
              <p:spPr>
                <a:xfrm>
                  <a:off x="683830" y="920541"/>
                  <a:ext cx="420096" cy="756340"/>
                </a:xfrm>
                <a:prstGeom prst="rect">
                  <a:avLst/>
                </a:prstGeom>
              </p:spPr>
              <p:txBody>
                <a:bodyPr wrap="square" lIns="0" tIns="0" rIns="0" bIns="0" anchor="ctr" anchorCtr="0">
                  <a:spAutoFit/>
                </a:bodyPr>
                <a:lstStyle/>
                <a:p>
                  <a:pPr algn="ctr"/>
                  <a:r>
                    <a:rPr lang="en-GB" sz="1867" b="1" dirty="0">
                      <a:solidFill>
                        <a:schemeClr val="bg1"/>
                      </a:solidFill>
                    </a:rPr>
                    <a:t>2</a:t>
                  </a:r>
                </a:p>
              </p:txBody>
            </p:sp>
          </p:grpSp>
        </p:grpSp>
        <p:sp>
          <p:nvSpPr>
            <p:cNvPr id="16" name="Rectangle 15"/>
            <p:cNvSpPr/>
            <p:nvPr/>
          </p:nvSpPr>
          <p:spPr>
            <a:xfrm>
              <a:off x="572449" y="757098"/>
              <a:ext cx="6044546" cy="246173"/>
            </a:xfrm>
            <a:prstGeom prst="rect">
              <a:avLst/>
            </a:prstGeom>
          </p:spPr>
          <p:txBody>
            <a:bodyPr wrap="square" lIns="0" tIns="0" rIns="0" bIns="0" anchor="t" anchorCtr="0">
              <a:spAutoFit/>
            </a:bodyPr>
            <a:lstStyle/>
            <a:p>
              <a:r>
                <a:rPr lang="en-GB" sz="2133" b="1" dirty="0">
                  <a:solidFill>
                    <a:schemeClr val="bg1"/>
                  </a:solidFill>
                </a:rPr>
                <a:t>SPONSORS HAVE A BIGGER VOICE </a:t>
              </a:r>
              <a:r>
                <a:rPr lang="en-GB" sz="2133" i="1" dirty="0">
                  <a:solidFill>
                    <a:schemeClr val="bg1"/>
                  </a:solidFill>
                </a:rPr>
                <a:t>(AND RESPONSIBILITY?) </a:t>
              </a:r>
              <a:r>
                <a:rPr lang="en-GB" sz="2133" b="1" dirty="0">
                  <a:solidFill>
                    <a:schemeClr val="bg1"/>
                  </a:solidFill>
                </a:rPr>
                <a:t>THAN EVER</a:t>
              </a:r>
            </a:p>
          </p:txBody>
        </p:sp>
      </p:grpSp>
      <p:grpSp>
        <p:nvGrpSpPr>
          <p:cNvPr id="23" name="Group 21"/>
          <p:cNvGrpSpPr/>
          <p:nvPr/>
        </p:nvGrpSpPr>
        <p:grpSpPr>
          <a:xfrm>
            <a:off x="1260555" y="2745118"/>
            <a:ext cx="8113824" cy="444204"/>
            <a:chOff x="223283" y="715926"/>
            <a:chExt cx="6085368" cy="333153"/>
          </a:xfrm>
        </p:grpSpPr>
        <p:grpSp>
          <p:nvGrpSpPr>
            <p:cNvPr id="24" name="Group 22"/>
            <p:cNvGrpSpPr/>
            <p:nvPr/>
          </p:nvGrpSpPr>
          <p:grpSpPr>
            <a:xfrm>
              <a:off x="223283" y="715926"/>
              <a:ext cx="6085368" cy="333153"/>
              <a:chOff x="223283" y="715926"/>
              <a:chExt cx="6085368" cy="333153"/>
            </a:xfrm>
          </p:grpSpPr>
          <p:sp>
            <p:nvSpPr>
              <p:cNvPr id="26" name="Rectangle: Rounded Corners 24"/>
              <p:cNvSpPr/>
              <p:nvPr/>
            </p:nvSpPr>
            <p:spPr>
              <a:xfrm>
                <a:off x="223283" y="715926"/>
                <a:ext cx="6085368" cy="333153"/>
              </a:xfrm>
              <a:prstGeom prst="round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schemeClr val="bg1"/>
                  </a:solidFill>
                </a:endParaRPr>
              </a:p>
            </p:txBody>
          </p:sp>
          <p:grpSp>
            <p:nvGrpSpPr>
              <p:cNvPr id="27" name="Group 25"/>
              <p:cNvGrpSpPr/>
              <p:nvPr/>
            </p:nvGrpSpPr>
            <p:grpSpPr>
              <a:xfrm>
                <a:off x="259096" y="737191"/>
                <a:ext cx="301575" cy="301574"/>
                <a:chOff x="364643" y="769477"/>
                <a:chExt cx="1058473" cy="1058473"/>
              </a:xfrm>
            </p:grpSpPr>
            <p:grpSp>
              <p:nvGrpSpPr>
                <p:cNvPr id="28" name="Group 26"/>
                <p:cNvGrpSpPr/>
                <p:nvPr/>
              </p:nvGrpSpPr>
              <p:grpSpPr>
                <a:xfrm>
                  <a:off x="364643" y="769477"/>
                  <a:ext cx="1058473" cy="1058473"/>
                  <a:chOff x="80433" y="2700870"/>
                  <a:chExt cx="3018366" cy="3018367"/>
                </a:xfrm>
              </p:grpSpPr>
              <p:pic>
                <p:nvPicPr>
                  <p:cNvPr id="30"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433" y="2700870"/>
                    <a:ext cx="3018366" cy="3018367"/>
                  </a:xfrm>
                  <a:prstGeom prst="rect">
                    <a:avLst/>
                  </a:prstGeom>
                </p:spPr>
              </p:pic>
              <p:sp>
                <p:nvSpPr>
                  <p:cNvPr id="31" name="Oval 29"/>
                  <p:cNvSpPr/>
                  <p:nvPr/>
                </p:nvSpPr>
                <p:spPr>
                  <a:xfrm>
                    <a:off x="744701" y="3365132"/>
                    <a:ext cx="1689830" cy="16898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dirty="0">
                      <a:solidFill>
                        <a:schemeClr val="bg1"/>
                      </a:solidFill>
                    </a:endParaRPr>
                  </a:p>
                </p:txBody>
              </p:sp>
            </p:grpSp>
            <p:sp>
              <p:nvSpPr>
                <p:cNvPr id="29" name="Rectangle 28"/>
                <p:cNvSpPr/>
                <p:nvPr/>
              </p:nvSpPr>
              <p:spPr>
                <a:xfrm>
                  <a:off x="683830" y="920541"/>
                  <a:ext cx="420096" cy="756340"/>
                </a:xfrm>
                <a:prstGeom prst="rect">
                  <a:avLst/>
                </a:prstGeom>
              </p:spPr>
              <p:txBody>
                <a:bodyPr wrap="square" lIns="0" tIns="0" rIns="0" bIns="0" anchor="ctr" anchorCtr="0">
                  <a:spAutoFit/>
                </a:bodyPr>
                <a:lstStyle/>
                <a:p>
                  <a:pPr algn="ctr"/>
                  <a:r>
                    <a:rPr lang="en-GB" sz="1867" b="1" dirty="0">
                      <a:solidFill>
                        <a:schemeClr val="bg1"/>
                      </a:solidFill>
                    </a:rPr>
                    <a:t>3</a:t>
                  </a:r>
                </a:p>
              </p:txBody>
            </p:sp>
          </p:grpSp>
        </p:grpSp>
        <p:sp>
          <p:nvSpPr>
            <p:cNvPr id="25" name="Rectangle 24"/>
            <p:cNvSpPr/>
            <p:nvPr/>
          </p:nvSpPr>
          <p:spPr>
            <a:xfrm>
              <a:off x="572449" y="757098"/>
              <a:ext cx="5665318" cy="246173"/>
            </a:xfrm>
            <a:prstGeom prst="rect">
              <a:avLst/>
            </a:prstGeom>
          </p:spPr>
          <p:txBody>
            <a:bodyPr wrap="square" lIns="0" tIns="0" rIns="0" bIns="0" anchor="t" anchorCtr="0">
              <a:spAutoFit/>
            </a:bodyPr>
            <a:lstStyle/>
            <a:p>
              <a:r>
                <a:rPr lang="en-GB" sz="2133" b="1" dirty="0">
                  <a:solidFill>
                    <a:schemeClr val="bg1"/>
                  </a:solidFill>
                </a:rPr>
                <a:t>BRANDS REQUIRE PROOF OF IMPACT – BEYOND EXPOSURE</a:t>
              </a:r>
            </a:p>
          </p:txBody>
        </p:sp>
      </p:grpSp>
      <p:grpSp>
        <p:nvGrpSpPr>
          <p:cNvPr id="32" name="Group 30"/>
          <p:cNvGrpSpPr/>
          <p:nvPr/>
        </p:nvGrpSpPr>
        <p:grpSpPr>
          <a:xfrm>
            <a:off x="1766193" y="3381497"/>
            <a:ext cx="8235077" cy="444204"/>
            <a:chOff x="223283" y="715926"/>
            <a:chExt cx="6176308" cy="333153"/>
          </a:xfrm>
        </p:grpSpPr>
        <p:grpSp>
          <p:nvGrpSpPr>
            <p:cNvPr id="33" name="Group 31"/>
            <p:cNvGrpSpPr/>
            <p:nvPr/>
          </p:nvGrpSpPr>
          <p:grpSpPr>
            <a:xfrm>
              <a:off x="223283" y="715926"/>
              <a:ext cx="6085368" cy="333153"/>
              <a:chOff x="223283" y="715926"/>
              <a:chExt cx="6085368" cy="333153"/>
            </a:xfrm>
          </p:grpSpPr>
          <p:sp>
            <p:nvSpPr>
              <p:cNvPr id="35" name="Rectangle: Rounded Corners 33"/>
              <p:cNvSpPr/>
              <p:nvPr/>
            </p:nvSpPr>
            <p:spPr>
              <a:xfrm>
                <a:off x="223283" y="715926"/>
                <a:ext cx="6085368" cy="333153"/>
              </a:xfrm>
              <a:prstGeom prst="round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schemeClr val="bg1"/>
                  </a:solidFill>
                </a:endParaRPr>
              </a:p>
            </p:txBody>
          </p:sp>
          <p:grpSp>
            <p:nvGrpSpPr>
              <p:cNvPr id="36" name="Group 34"/>
              <p:cNvGrpSpPr/>
              <p:nvPr/>
            </p:nvGrpSpPr>
            <p:grpSpPr>
              <a:xfrm>
                <a:off x="259096" y="737191"/>
                <a:ext cx="301575" cy="301574"/>
                <a:chOff x="364643" y="769477"/>
                <a:chExt cx="1058473" cy="1058473"/>
              </a:xfrm>
            </p:grpSpPr>
            <p:grpSp>
              <p:nvGrpSpPr>
                <p:cNvPr id="37" name="Group 35"/>
                <p:cNvGrpSpPr/>
                <p:nvPr/>
              </p:nvGrpSpPr>
              <p:grpSpPr>
                <a:xfrm>
                  <a:off x="364643" y="769477"/>
                  <a:ext cx="1058473" cy="1058473"/>
                  <a:chOff x="80433" y="2700870"/>
                  <a:chExt cx="3018366" cy="3018367"/>
                </a:xfrm>
              </p:grpSpPr>
              <p:pic>
                <p:nvPicPr>
                  <p:cNvPr id="39" name="Picture 3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433" y="2700870"/>
                    <a:ext cx="3018366" cy="3018367"/>
                  </a:xfrm>
                  <a:prstGeom prst="rect">
                    <a:avLst/>
                  </a:prstGeom>
                </p:spPr>
              </p:pic>
              <p:sp>
                <p:nvSpPr>
                  <p:cNvPr id="40" name="Oval 38"/>
                  <p:cNvSpPr/>
                  <p:nvPr/>
                </p:nvSpPr>
                <p:spPr>
                  <a:xfrm>
                    <a:off x="744701" y="3365132"/>
                    <a:ext cx="1689830" cy="16898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dirty="0">
                      <a:solidFill>
                        <a:schemeClr val="bg1"/>
                      </a:solidFill>
                    </a:endParaRPr>
                  </a:p>
                </p:txBody>
              </p:sp>
            </p:grpSp>
            <p:sp>
              <p:nvSpPr>
                <p:cNvPr id="38" name="Rectangle 37"/>
                <p:cNvSpPr/>
                <p:nvPr/>
              </p:nvSpPr>
              <p:spPr>
                <a:xfrm>
                  <a:off x="683830" y="920541"/>
                  <a:ext cx="420096" cy="756340"/>
                </a:xfrm>
                <a:prstGeom prst="rect">
                  <a:avLst/>
                </a:prstGeom>
              </p:spPr>
              <p:txBody>
                <a:bodyPr wrap="square" lIns="0" tIns="0" rIns="0" bIns="0" anchor="ctr" anchorCtr="0">
                  <a:spAutoFit/>
                </a:bodyPr>
                <a:lstStyle/>
                <a:p>
                  <a:pPr algn="ctr"/>
                  <a:r>
                    <a:rPr lang="en-GB" sz="1867" b="1" dirty="0">
                      <a:solidFill>
                        <a:schemeClr val="bg1"/>
                      </a:solidFill>
                    </a:rPr>
                    <a:t>4</a:t>
                  </a:r>
                </a:p>
              </p:txBody>
            </p:sp>
          </p:grpSp>
        </p:grpSp>
        <p:sp>
          <p:nvSpPr>
            <p:cNvPr id="34" name="Rectangle 33"/>
            <p:cNvSpPr/>
            <p:nvPr/>
          </p:nvSpPr>
          <p:spPr>
            <a:xfrm>
              <a:off x="572448" y="757098"/>
              <a:ext cx="5827143" cy="246173"/>
            </a:xfrm>
            <a:prstGeom prst="rect">
              <a:avLst/>
            </a:prstGeom>
          </p:spPr>
          <p:txBody>
            <a:bodyPr wrap="square" lIns="0" tIns="0" rIns="0" bIns="0" anchor="t" anchorCtr="0">
              <a:spAutoFit/>
            </a:bodyPr>
            <a:lstStyle/>
            <a:p>
              <a:r>
                <a:rPr lang="en-GB" sz="2133" b="1" dirty="0">
                  <a:solidFill>
                    <a:schemeClr val="bg1"/>
                  </a:solidFill>
                </a:rPr>
                <a:t>COMMUNITY / ACTIVATION / ENGAGEMENT PLAY A CRITICAL ROLE</a:t>
              </a:r>
            </a:p>
          </p:txBody>
        </p:sp>
      </p:grpSp>
      <p:grpSp>
        <p:nvGrpSpPr>
          <p:cNvPr id="41" name="Group 39"/>
          <p:cNvGrpSpPr/>
          <p:nvPr/>
        </p:nvGrpSpPr>
        <p:grpSpPr>
          <a:xfrm>
            <a:off x="2271830" y="4017878"/>
            <a:ext cx="8113824" cy="444204"/>
            <a:chOff x="223283" y="715926"/>
            <a:chExt cx="6085368" cy="333153"/>
          </a:xfrm>
        </p:grpSpPr>
        <p:grpSp>
          <p:nvGrpSpPr>
            <p:cNvPr id="42" name="Group 40"/>
            <p:cNvGrpSpPr/>
            <p:nvPr/>
          </p:nvGrpSpPr>
          <p:grpSpPr>
            <a:xfrm>
              <a:off x="223283" y="715926"/>
              <a:ext cx="6085368" cy="333153"/>
              <a:chOff x="223283" y="715926"/>
              <a:chExt cx="6085368" cy="333153"/>
            </a:xfrm>
          </p:grpSpPr>
          <p:sp>
            <p:nvSpPr>
              <p:cNvPr id="44" name="Rectangle: Rounded Corners 42"/>
              <p:cNvSpPr/>
              <p:nvPr/>
            </p:nvSpPr>
            <p:spPr>
              <a:xfrm>
                <a:off x="223283" y="715926"/>
                <a:ext cx="6085368" cy="333153"/>
              </a:xfrm>
              <a:prstGeom prst="round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schemeClr val="bg1"/>
                  </a:solidFill>
                </a:endParaRPr>
              </a:p>
            </p:txBody>
          </p:sp>
          <p:grpSp>
            <p:nvGrpSpPr>
              <p:cNvPr id="45" name="Group 43"/>
              <p:cNvGrpSpPr/>
              <p:nvPr/>
            </p:nvGrpSpPr>
            <p:grpSpPr>
              <a:xfrm>
                <a:off x="259096" y="737191"/>
                <a:ext cx="301575" cy="301574"/>
                <a:chOff x="364643" y="769477"/>
                <a:chExt cx="1058473" cy="1058473"/>
              </a:xfrm>
            </p:grpSpPr>
            <p:grpSp>
              <p:nvGrpSpPr>
                <p:cNvPr id="46" name="Group 44"/>
                <p:cNvGrpSpPr/>
                <p:nvPr/>
              </p:nvGrpSpPr>
              <p:grpSpPr>
                <a:xfrm>
                  <a:off x="364643" y="769477"/>
                  <a:ext cx="1058473" cy="1058473"/>
                  <a:chOff x="80433" y="2700870"/>
                  <a:chExt cx="3018366" cy="3018367"/>
                </a:xfrm>
              </p:grpSpPr>
              <p:pic>
                <p:nvPicPr>
                  <p:cNvPr id="48" name="Picture 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433" y="2700870"/>
                    <a:ext cx="3018366" cy="3018367"/>
                  </a:xfrm>
                  <a:prstGeom prst="rect">
                    <a:avLst/>
                  </a:prstGeom>
                </p:spPr>
              </p:pic>
              <p:sp>
                <p:nvSpPr>
                  <p:cNvPr id="49" name="Oval 47"/>
                  <p:cNvSpPr/>
                  <p:nvPr/>
                </p:nvSpPr>
                <p:spPr>
                  <a:xfrm>
                    <a:off x="744701" y="3365132"/>
                    <a:ext cx="1689830" cy="16898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dirty="0">
                      <a:solidFill>
                        <a:schemeClr val="bg1"/>
                      </a:solidFill>
                    </a:endParaRPr>
                  </a:p>
                </p:txBody>
              </p:sp>
            </p:grpSp>
            <p:sp>
              <p:nvSpPr>
                <p:cNvPr id="47" name="Rectangle 46"/>
                <p:cNvSpPr/>
                <p:nvPr/>
              </p:nvSpPr>
              <p:spPr>
                <a:xfrm>
                  <a:off x="683830" y="920541"/>
                  <a:ext cx="420096" cy="756340"/>
                </a:xfrm>
                <a:prstGeom prst="rect">
                  <a:avLst/>
                </a:prstGeom>
              </p:spPr>
              <p:txBody>
                <a:bodyPr wrap="square" lIns="0" tIns="0" rIns="0" bIns="0" anchor="ctr" anchorCtr="0">
                  <a:spAutoFit/>
                </a:bodyPr>
                <a:lstStyle/>
                <a:p>
                  <a:pPr algn="ctr"/>
                  <a:r>
                    <a:rPr lang="en-GB" sz="1867" b="1" dirty="0">
                      <a:solidFill>
                        <a:schemeClr val="bg1"/>
                      </a:solidFill>
                    </a:rPr>
                    <a:t>5</a:t>
                  </a:r>
                </a:p>
              </p:txBody>
            </p:sp>
          </p:grpSp>
        </p:grpSp>
        <p:sp>
          <p:nvSpPr>
            <p:cNvPr id="43" name="Rectangle 42"/>
            <p:cNvSpPr/>
            <p:nvPr/>
          </p:nvSpPr>
          <p:spPr>
            <a:xfrm>
              <a:off x="572449" y="757098"/>
              <a:ext cx="5665318" cy="246173"/>
            </a:xfrm>
            <a:prstGeom prst="rect">
              <a:avLst/>
            </a:prstGeom>
          </p:spPr>
          <p:txBody>
            <a:bodyPr wrap="square" lIns="0" tIns="0" rIns="0" bIns="0" anchor="t" anchorCtr="0">
              <a:spAutoFit/>
            </a:bodyPr>
            <a:lstStyle/>
            <a:p>
              <a:r>
                <a:rPr lang="en-GB" sz="2133" b="1" dirty="0">
                  <a:solidFill>
                    <a:schemeClr val="bg1"/>
                  </a:solidFill>
                </a:rPr>
                <a:t>DIGITAL HAS CHANGED THE GAME</a:t>
              </a:r>
            </a:p>
          </p:txBody>
        </p:sp>
      </p:grpSp>
      <p:grpSp>
        <p:nvGrpSpPr>
          <p:cNvPr id="50" name="Group 48"/>
          <p:cNvGrpSpPr/>
          <p:nvPr/>
        </p:nvGrpSpPr>
        <p:grpSpPr>
          <a:xfrm>
            <a:off x="2777467" y="4654254"/>
            <a:ext cx="8113824" cy="444204"/>
            <a:chOff x="223283" y="715926"/>
            <a:chExt cx="6085368" cy="333153"/>
          </a:xfrm>
        </p:grpSpPr>
        <p:grpSp>
          <p:nvGrpSpPr>
            <p:cNvPr id="51" name="Group 49"/>
            <p:cNvGrpSpPr/>
            <p:nvPr/>
          </p:nvGrpSpPr>
          <p:grpSpPr>
            <a:xfrm>
              <a:off x="223283" y="715926"/>
              <a:ext cx="6085368" cy="333153"/>
              <a:chOff x="223283" y="715926"/>
              <a:chExt cx="6085368" cy="333153"/>
            </a:xfrm>
          </p:grpSpPr>
          <p:sp>
            <p:nvSpPr>
              <p:cNvPr id="53" name="Rectangle: Rounded Corners 51"/>
              <p:cNvSpPr/>
              <p:nvPr/>
            </p:nvSpPr>
            <p:spPr>
              <a:xfrm>
                <a:off x="223283" y="715926"/>
                <a:ext cx="6085368" cy="333153"/>
              </a:xfrm>
              <a:prstGeom prst="round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schemeClr val="bg1"/>
                  </a:solidFill>
                </a:endParaRPr>
              </a:p>
            </p:txBody>
          </p:sp>
          <p:grpSp>
            <p:nvGrpSpPr>
              <p:cNvPr id="54" name="Group 52"/>
              <p:cNvGrpSpPr/>
              <p:nvPr/>
            </p:nvGrpSpPr>
            <p:grpSpPr>
              <a:xfrm>
                <a:off x="259096" y="737191"/>
                <a:ext cx="301575" cy="301574"/>
                <a:chOff x="364643" y="769477"/>
                <a:chExt cx="1058473" cy="1058473"/>
              </a:xfrm>
            </p:grpSpPr>
            <p:grpSp>
              <p:nvGrpSpPr>
                <p:cNvPr id="55" name="Group 53"/>
                <p:cNvGrpSpPr/>
                <p:nvPr/>
              </p:nvGrpSpPr>
              <p:grpSpPr>
                <a:xfrm>
                  <a:off x="364643" y="769477"/>
                  <a:ext cx="1058473" cy="1058473"/>
                  <a:chOff x="80433" y="2700870"/>
                  <a:chExt cx="3018366" cy="3018367"/>
                </a:xfrm>
              </p:grpSpPr>
              <p:pic>
                <p:nvPicPr>
                  <p:cNvPr id="57" name="Picture 5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433" y="2700870"/>
                    <a:ext cx="3018366" cy="3018367"/>
                  </a:xfrm>
                  <a:prstGeom prst="rect">
                    <a:avLst/>
                  </a:prstGeom>
                </p:spPr>
              </p:pic>
              <p:sp>
                <p:nvSpPr>
                  <p:cNvPr id="58" name="Oval 56"/>
                  <p:cNvSpPr/>
                  <p:nvPr/>
                </p:nvSpPr>
                <p:spPr>
                  <a:xfrm>
                    <a:off x="744701" y="3365132"/>
                    <a:ext cx="1689830" cy="16898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dirty="0">
                      <a:solidFill>
                        <a:schemeClr val="bg1"/>
                      </a:solidFill>
                    </a:endParaRPr>
                  </a:p>
                </p:txBody>
              </p:sp>
            </p:grpSp>
            <p:sp>
              <p:nvSpPr>
                <p:cNvPr id="56" name="Rectangle 55"/>
                <p:cNvSpPr/>
                <p:nvPr/>
              </p:nvSpPr>
              <p:spPr>
                <a:xfrm>
                  <a:off x="683830" y="920541"/>
                  <a:ext cx="420096" cy="756340"/>
                </a:xfrm>
                <a:prstGeom prst="rect">
                  <a:avLst/>
                </a:prstGeom>
              </p:spPr>
              <p:txBody>
                <a:bodyPr wrap="square" lIns="0" tIns="0" rIns="0" bIns="0" anchor="ctr" anchorCtr="0">
                  <a:spAutoFit/>
                </a:bodyPr>
                <a:lstStyle/>
                <a:p>
                  <a:pPr algn="ctr"/>
                  <a:r>
                    <a:rPr lang="en-GB" sz="1867" b="1" dirty="0">
                      <a:solidFill>
                        <a:schemeClr val="bg1"/>
                      </a:solidFill>
                    </a:rPr>
                    <a:t>6</a:t>
                  </a:r>
                </a:p>
              </p:txBody>
            </p:sp>
          </p:grpSp>
        </p:grpSp>
        <p:sp>
          <p:nvSpPr>
            <p:cNvPr id="52" name="Rectangle 51"/>
            <p:cNvSpPr/>
            <p:nvPr/>
          </p:nvSpPr>
          <p:spPr>
            <a:xfrm>
              <a:off x="572449" y="757098"/>
              <a:ext cx="5665318" cy="246173"/>
            </a:xfrm>
            <a:prstGeom prst="rect">
              <a:avLst/>
            </a:prstGeom>
          </p:spPr>
          <p:txBody>
            <a:bodyPr wrap="square" lIns="0" tIns="0" rIns="0" bIns="0" anchor="t" anchorCtr="0">
              <a:spAutoFit/>
            </a:bodyPr>
            <a:lstStyle/>
            <a:p>
              <a:r>
                <a:rPr lang="en-GB" sz="2133" b="1" dirty="0">
                  <a:solidFill>
                    <a:schemeClr val="bg1"/>
                  </a:solidFill>
                </a:rPr>
                <a:t>E-SPORTS AND OTHERS ARE CHANGING IT FURTHER</a:t>
              </a:r>
            </a:p>
          </p:txBody>
        </p:sp>
      </p:grpSp>
      <p:grpSp>
        <p:nvGrpSpPr>
          <p:cNvPr id="59" name="Group 57"/>
          <p:cNvGrpSpPr/>
          <p:nvPr/>
        </p:nvGrpSpPr>
        <p:grpSpPr>
          <a:xfrm>
            <a:off x="3283105" y="5290634"/>
            <a:ext cx="8113824" cy="444204"/>
            <a:chOff x="223283" y="715926"/>
            <a:chExt cx="6085368" cy="333153"/>
          </a:xfrm>
        </p:grpSpPr>
        <p:grpSp>
          <p:nvGrpSpPr>
            <p:cNvPr id="60" name="Group 58"/>
            <p:cNvGrpSpPr/>
            <p:nvPr/>
          </p:nvGrpSpPr>
          <p:grpSpPr>
            <a:xfrm>
              <a:off x="223283" y="715926"/>
              <a:ext cx="6085368" cy="333153"/>
              <a:chOff x="223283" y="715926"/>
              <a:chExt cx="6085368" cy="333153"/>
            </a:xfrm>
          </p:grpSpPr>
          <p:sp>
            <p:nvSpPr>
              <p:cNvPr id="62" name="Rectangle: Rounded Corners 60"/>
              <p:cNvSpPr/>
              <p:nvPr/>
            </p:nvSpPr>
            <p:spPr>
              <a:xfrm>
                <a:off x="223283" y="715926"/>
                <a:ext cx="6085368" cy="333153"/>
              </a:xfrm>
              <a:prstGeom prst="round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schemeClr val="bg1"/>
                  </a:solidFill>
                </a:endParaRPr>
              </a:p>
            </p:txBody>
          </p:sp>
          <p:grpSp>
            <p:nvGrpSpPr>
              <p:cNvPr id="63" name="Group 61"/>
              <p:cNvGrpSpPr/>
              <p:nvPr/>
            </p:nvGrpSpPr>
            <p:grpSpPr>
              <a:xfrm>
                <a:off x="259096" y="737191"/>
                <a:ext cx="301575" cy="301574"/>
                <a:chOff x="364643" y="769477"/>
                <a:chExt cx="1058473" cy="1058473"/>
              </a:xfrm>
            </p:grpSpPr>
            <p:grpSp>
              <p:nvGrpSpPr>
                <p:cNvPr id="64" name="Group 62"/>
                <p:cNvGrpSpPr/>
                <p:nvPr/>
              </p:nvGrpSpPr>
              <p:grpSpPr>
                <a:xfrm>
                  <a:off x="364643" y="769477"/>
                  <a:ext cx="1058473" cy="1058473"/>
                  <a:chOff x="80433" y="2700870"/>
                  <a:chExt cx="3018366" cy="3018367"/>
                </a:xfrm>
              </p:grpSpPr>
              <p:pic>
                <p:nvPicPr>
                  <p:cNvPr id="66" name="Picture 6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433" y="2700870"/>
                    <a:ext cx="3018366" cy="3018367"/>
                  </a:xfrm>
                  <a:prstGeom prst="rect">
                    <a:avLst/>
                  </a:prstGeom>
                </p:spPr>
              </p:pic>
              <p:sp>
                <p:nvSpPr>
                  <p:cNvPr id="67" name="Oval 65"/>
                  <p:cNvSpPr/>
                  <p:nvPr/>
                </p:nvSpPr>
                <p:spPr>
                  <a:xfrm>
                    <a:off x="744701" y="3365132"/>
                    <a:ext cx="1689830" cy="16898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dirty="0">
                      <a:solidFill>
                        <a:schemeClr val="bg1"/>
                      </a:solidFill>
                    </a:endParaRPr>
                  </a:p>
                </p:txBody>
              </p:sp>
            </p:grpSp>
            <p:sp>
              <p:nvSpPr>
                <p:cNvPr id="65" name="Rectangle 64"/>
                <p:cNvSpPr/>
                <p:nvPr/>
              </p:nvSpPr>
              <p:spPr>
                <a:xfrm>
                  <a:off x="683830" y="920541"/>
                  <a:ext cx="420096" cy="756340"/>
                </a:xfrm>
                <a:prstGeom prst="rect">
                  <a:avLst/>
                </a:prstGeom>
              </p:spPr>
              <p:txBody>
                <a:bodyPr wrap="square" lIns="0" tIns="0" rIns="0" bIns="0" anchor="ctr" anchorCtr="0">
                  <a:spAutoFit/>
                </a:bodyPr>
                <a:lstStyle/>
                <a:p>
                  <a:pPr algn="ctr"/>
                  <a:r>
                    <a:rPr lang="en-GB" sz="1867" b="1" dirty="0">
                      <a:solidFill>
                        <a:schemeClr val="bg1"/>
                      </a:solidFill>
                    </a:rPr>
                    <a:t>7</a:t>
                  </a:r>
                </a:p>
              </p:txBody>
            </p:sp>
          </p:grpSp>
        </p:grpSp>
        <p:sp>
          <p:nvSpPr>
            <p:cNvPr id="61" name="Rectangle 60"/>
            <p:cNvSpPr/>
            <p:nvPr/>
          </p:nvSpPr>
          <p:spPr>
            <a:xfrm>
              <a:off x="572449" y="757098"/>
              <a:ext cx="5665318" cy="246173"/>
            </a:xfrm>
            <a:prstGeom prst="rect">
              <a:avLst/>
            </a:prstGeom>
          </p:spPr>
          <p:txBody>
            <a:bodyPr wrap="square" lIns="0" tIns="0" rIns="0" bIns="0" anchor="t" anchorCtr="0">
              <a:spAutoFit/>
            </a:bodyPr>
            <a:lstStyle/>
            <a:p>
              <a:r>
                <a:rPr lang="en-GB" sz="2133" b="1" dirty="0">
                  <a:solidFill>
                    <a:schemeClr val="bg1"/>
                  </a:solidFill>
                </a:rPr>
                <a:t>SPONSORSHIP IS MORE STRATEGIC THAN EVER</a:t>
              </a:r>
            </a:p>
          </p:txBody>
        </p:sp>
      </p:grpSp>
      <p:sp>
        <p:nvSpPr>
          <p:cNvPr id="68" name="Title 5"/>
          <p:cNvSpPr txBox="1">
            <a:spLocks/>
          </p:cNvSpPr>
          <p:nvPr/>
        </p:nvSpPr>
        <p:spPr>
          <a:xfrm>
            <a:off x="291811" y="5919226"/>
            <a:ext cx="11616267" cy="524440"/>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rgbClr val="FF0000"/>
                </a:solidFill>
                <a:latin typeface="+mj-lt"/>
                <a:ea typeface="+mj-ea"/>
                <a:cs typeface="+mj-cs"/>
              </a:defRPr>
            </a:lvl1pPr>
          </a:lstStyle>
          <a:p>
            <a:pPr algn="r"/>
            <a:r>
              <a:rPr lang="en-GB" sz="3733" dirty="0">
                <a:solidFill>
                  <a:schemeClr val="tx1"/>
                </a:solidFill>
              </a:rPr>
              <a:t>… BUT YOU ALREADY KNEW THAT</a:t>
            </a:r>
          </a:p>
        </p:txBody>
      </p:sp>
    </p:spTree>
    <p:extLst>
      <p:ext uri="{BB962C8B-B14F-4D97-AF65-F5344CB8AC3E}">
        <p14:creationId xmlns:p14="http://schemas.microsoft.com/office/powerpoint/2010/main" val="27029039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Image 4" descr="Une image contenant tennis, homme, route, personne&#10;&#10;Description générée automatiquement">
            <a:extLst>
              <a:ext uri="{FF2B5EF4-FFF2-40B4-BE49-F238E27FC236}">
                <a16:creationId xmlns:a16="http://schemas.microsoft.com/office/drawing/2014/main" id="{721A45AA-157A-48BD-9B64-0FA13BAF5E74}"/>
              </a:ext>
            </a:extLst>
          </p:cNvPr>
          <p:cNvPicPr>
            <a:picLocks noChangeAspect="1"/>
          </p:cNvPicPr>
          <p:nvPr/>
        </p:nvPicPr>
        <p:blipFill rotWithShape="1">
          <a:blip r:embed="rId2"/>
          <a:srcRect r="5739"/>
          <a:stretch/>
        </p:blipFill>
        <p:spPr>
          <a:xfrm>
            <a:off x="-32" y="10"/>
            <a:ext cx="12192031" cy="4915066"/>
          </a:xfrm>
          <a:prstGeom prst="rect">
            <a:avLst/>
          </a:prstGeom>
        </p:spPr>
      </p:pic>
      <p:sp>
        <p:nvSpPr>
          <p:cNvPr id="2" name="Titre 1">
            <a:extLst>
              <a:ext uri="{FF2B5EF4-FFF2-40B4-BE49-F238E27FC236}">
                <a16:creationId xmlns:a16="http://schemas.microsoft.com/office/drawing/2014/main" id="{F499FCB7-FE35-4EF3-A002-D562A89FC99D}"/>
              </a:ext>
            </a:extLst>
          </p:cNvPr>
          <p:cNvSpPr>
            <a:spLocks noGrp="1"/>
          </p:cNvSpPr>
          <p:nvPr>
            <p:ph type="title"/>
          </p:nvPr>
        </p:nvSpPr>
        <p:spPr>
          <a:xfrm>
            <a:off x="1065197" y="5120640"/>
            <a:ext cx="10058400" cy="822960"/>
          </a:xfrm>
        </p:spPr>
        <p:txBody>
          <a:bodyPr vert="horz" lIns="91440" tIns="45720" rIns="91440" bIns="45720" rtlCol="0" anchor="b">
            <a:normAutofit fontScale="90000"/>
          </a:bodyPr>
          <a:lstStyle/>
          <a:p>
            <a:r>
              <a:rPr lang="en-US" sz="3700" dirty="0">
                <a:solidFill>
                  <a:srgbClr val="FFFFFF"/>
                </a:solidFill>
              </a:rPr>
              <a:t>Storytelling / </a:t>
            </a:r>
            <a:r>
              <a:rPr lang="en-US" sz="3700" dirty="0" err="1">
                <a:solidFill>
                  <a:srgbClr val="FFFFFF"/>
                </a:solidFill>
              </a:rPr>
              <a:t>storyliving</a:t>
            </a:r>
            <a:r>
              <a:rPr lang="en-US" sz="3700" dirty="0">
                <a:solidFill>
                  <a:srgbClr val="FFFFFF"/>
                </a:solidFill>
              </a:rPr>
              <a:t> ? Endorsement &amp; Sponsorship</a:t>
            </a:r>
          </a:p>
        </p:txBody>
      </p:sp>
    </p:spTree>
    <p:extLst>
      <p:ext uri="{BB962C8B-B14F-4D97-AF65-F5344CB8AC3E}">
        <p14:creationId xmlns:p14="http://schemas.microsoft.com/office/powerpoint/2010/main" val="14609965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Média en ligne 2" title="Roger Federer on Laver Cup at Five | Laver Cup 2022">
            <a:hlinkClick r:id="" action="ppaction://media"/>
            <a:extLst>
              <a:ext uri="{FF2B5EF4-FFF2-40B4-BE49-F238E27FC236}">
                <a16:creationId xmlns:a16="http://schemas.microsoft.com/office/drawing/2014/main" id="{D4E282E3-39E8-6F82-D1E7-35F6BC837667}"/>
              </a:ext>
            </a:extLst>
          </p:cNvPr>
          <p:cNvPicPr>
            <a:picLocks noRot="1" noChangeAspect="1"/>
          </p:cNvPicPr>
          <p:nvPr>
            <a:videoFile r:link="rId1"/>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339794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1"/>
          <p:cNvSpPr>
            <a:spLocks noGrp="1"/>
          </p:cNvSpPr>
          <p:nvPr>
            <p:ph type="title"/>
          </p:nvPr>
        </p:nvSpPr>
        <p:spPr>
          <a:xfrm>
            <a:off x="292274" y="283923"/>
            <a:ext cx="11615804" cy="1027135"/>
          </a:xfrm>
        </p:spPr>
        <p:txBody>
          <a:bodyPr>
            <a:normAutofit fontScale="90000"/>
          </a:bodyPr>
          <a:lstStyle/>
          <a:p>
            <a:r>
              <a:rPr lang="en-GB" b="1" dirty="0"/>
              <a:t>THE FUTURE OF DIGITAL SPORTS CONSUMPTION </a:t>
            </a:r>
            <a:br>
              <a:rPr lang="en-GB" b="1" dirty="0"/>
            </a:br>
            <a:r>
              <a:rPr lang="en-GB" b="1" i="1" dirty="0"/>
              <a:t>– % of sports content via PC/Laptop or Mobile/Tablet</a:t>
            </a:r>
          </a:p>
        </p:txBody>
      </p:sp>
      <p:graphicFrame>
        <p:nvGraphicFramePr>
          <p:cNvPr id="5" name="Chart 7"/>
          <p:cNvGraphicFramePr/>
          <p:nvPr>
            <p:extLst>
              <p:ext uri="{D42A27DB-BD31-4B8C-83A1-F6EECF244321}">
                <p14:modId xmlns:p14="http://schemas.microsoft.com/office/powerpoint/2010/main" val="2695871403"/>
              </p:ext>
            </p:extLst>
          </p:nvPr>
        </p:nvGraphicFramePr>
        <p:xfrm>
          <a:off x="264633" y="1439334"/>
          <a:ext cx="11643832" cy="449599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1883506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93D02663-B684-40B1-91A0-D1612D894A35}"/>
              </a:ext>
            </a:extLst>
          </p:cNvPr>
          <p:cNvPicPr>
            <a:picLocks noChangeAspect="1"/>
          </p:cNvPicPr>
          <p:nvPr/>
        </p:nvPicPr>
        <p:blipFill>
          <a:blip r:embed="rId2"/>
          <a:stretch>
            <a:fillRect/>
          </a:stretch>
        </p:blipFill>
        <p:spPr>
          <a:xfrm>
            <a:off x="1980744" y="3246"/>
            <a:ext cx="8169096" cy="6871802"/>
          </a:xfrm>
          <a:prstGeom prst="rect">
            <a:avLst/>
          </a:prstGeom>
        </p:spPr>
      </p:pic>
    </p:spTree>
    <p:extLst>
      <p:ext uri="{BB962C8B-B14F-4D97-AF65-F5344CB8AC3E}">
        <p14:creationId xmlns:p14="http://schemas.microsoft.com/office/powerpoint/2010/main" val="30188110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8" name="Object 57" hidden="1"/>
          <p:cNvGraphicFramePr>
            <a:graphicFrameLocks noChangeAspect="1"/>
          </p:cNvGraphicFramePr>
          <p:nvPr>
            <p:custDataLst>
              <p:tags r:id="rId2"/>
            </p:custDataLst>
          </p:nvPr>
        </p:nvGraphicFramePr>
        <p:xfrm>
          <a:off x="1402" y="1402"/>
          <a:ext cx="1400" cy="1400"/>
        </p:xfrm>
        <a:graphic>
          <a:graphicData uri="http://schemas.openxmlformats.org/presentationml/2006/ole">
            <mc:AlternateContent xmlns:mc="http://schemas.openxmlformats.org/markup-compatibility/2006">
              <mc:Choice xmlns:v="urn:schemas-microsoft-com:vml" Requires="v">
                <p:oleObj name="think-cell Slide" r:id="rId10" imgW="622" imgH="623" progId="TCLayout.ActiveDocument.1">
                  <p:embed/>
                </p:oleObj>
              </mc:Choice>
              <mc:Fallback>
                <p:oleObj name="think-cell Slide" r:id="rId10" imgW="622" imgH="623" progId="TCLayout.ActiveDocument.1">
                  <p:embed/>
                  <p:pic>
                    <p:nvPicPr>
                      <p:cNvPr id="58" name="Object 57" hidden="1"/>
                      <p:cNvPicPr/>
                      <p:nvPr/>
                    </p:nvPicPr>
                    <p:blipFill>
                      <a:blip r:embed="rId11"/>
                      <a:stretch>
                        <a:fillRect/>
                      </a:stretch>
                    </p:blipFill>
                    <p:spPr>
                      <a:xfrm>
                        <a:off x="1402" y="1402"/>
                        <a:ext cx="1400" cy="1400"/>
                      </a:xfrm>
                      <a:prstGeom prst="rect">
                        <a:avLst/>
                      </a:prstGeom>
                    </p:spPr>
                  </p:pic>
                </p:oleObj>
              </mc:Fallback>
            </mc:AlternateContent>
          </a:graphicData>
        </a:graphic>
      </p:graphicFrame>
      <p:grpSp>
        <p:nvGrpSpPr>
          <p:cNvPr id="4" name="Grid" hidden="1"/>
          <p:cNvGrpSpPr/>
          <p:nvPr>
            <p:custDataLst>
              <p:tags r:id="rId3"/>
            </p:custDataLst>
          </p:nvPr>
        </p:nvGrpSpPr>
        <p:grpSpPr>
          <a:xfrm>
            <a:off x="590911" y="540572"/>
            <a:ext cx="10958239" cy="6043108"/>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971"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971"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707409">
                <a:buSzPct val="90000"/>
                <a:defRPr/>
              </a:pPr>
              <a:endParaRPr lang="en-GB" sz="1235"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sp>
        <p:nvSpPr>
          <p:cNvPr id="3" name="Title 2"/>
          <p:cNvSpPr>
            <a:spLocks noGrp="1"/>
          </p:cNvSpPr>
          <p:nvPr>
            <p:ph type="title"/>
          </p:nvPr>
        </p:nvSpPr>
        <p:spPr/>
        <p:txBody>
          <a:bodyPr/>
          <a:lstStyle/>
          <a:p>
            <a:r>
              <a:rPr lang="en-GB" dirty="0"/>
              <a:t>Is live dying of a slow death…?</a:t>
            </a:r>
          </a:p>
        </p:txBody>
      </p:sp>
      <p:sp>
        <p:nvSpPr>
          <p:cNvPr id="55" name="Section Header"/>
          <p:cNvSpPr txBox="1"/>
          <p:nvPr>
            <p:custDataLst>
              <p:tags r:id="rId4"/>
            </p:custDataLst>
          </p:nvPr>
        </p:nvSpPr>
        <p:spPr>
          <a:xfrm>
            <a:off x="590911" y="621254"/>
            <a:ext cx="3695552" cy="121024"/>
          </a:xfrm>
          <a:prstGeom prst="rect">
            <a:avLst/>
          </a:prstGeom>
          <a:noFill/>
        </p:spPr>
        <p:txBody>
          <a:bodyPr wrap="square" lIns="0" tIns="0" rIns="0" bIns="0" rtlCol="0" anchor="b" anchorCtr="0">
            <a:noAutofit/>
          </a:bodyPr>
          <a:lstStyle/>
          <a:p>
            <a:r>
              <a:rPr lang="en-GB" sz="794" noProof="1"/>
              <a:t>0.1 Introduction: why are we here?</a:t>
            </a:r>
          </a:p>
        </p:txBody>
      </p:sp>
      <p:sp>
        <p:nvSpPr>
          <p:cNvPr id="56" name="Page Number"/>
          <p:cNvSpPr txBox="1"/>
          <p:nvPr>
            <p:custDataLst>
              <p:tags r:id="rId5"/>
            </p:custDataLst>
          </p:nvPr>
        </p:nvSpPr>
        <p:spPr>
          <a:xfrm>
            <a:off x="11151579" y="6308261"/>
            <a:ext cx="387927" cy="122205"/>
          </a:xfrm>
          <a:prstGeom prst="rect">
            <a:avLst/>
          </a:prstGeom>
          <a:noFill/>
          <a:ln>
            <a:noFill/>
          </a:ln>
        </p:spPr>
        <p:txBody>
          <a:bodyPr wrap="square" lIns="0" tIns="0" rIns="0" bIns="0" rtlCol="0">
            <a:noAutofit/>
          </a:bodyPr>
          <a:lstStyle/>
          <a:p>
            <a:pPr algn="r"/>
            <a:r>
              <a:rPr lang="en-GB" sz="794">
                <a:cs typeface="Arial" pitchFamily="34" charset="0"/>
              </a:rPr>
              <a:t>10</a:t>
            </a:r>
            <a:endParaRPr lang="en-GB" sz="794" dirty="0">
              <a:cs typeface="Arial" pitchFamily="34" charset="0"/>
            </a:endParaRPr>
          </a:p>
        </p:txBody>
      </p:sp>
      <p:sp>
        <p:nvSpPr>
          <p:cNvPr id="57" name="Section Footer"/>
          <p:cNvSpPr txBox="1"/>
          <p:nvPr>
            <p:custDataLst>
              <p:tags r:id="rId6"/>
            </p:custDataLst>
          </p:nvPr>
        </p:nvSpPr>
        <p:spPr>
          <a:xfrm>
            <a:off x="589520" y="6308253"/>
            <a:ext cx="2557631" cy="122213"/>
          </a:xfrm>
          <a:prstGeom prst="rect">
            <a:avLst/>
          </a:prstGeom>
          <a:noFill/>
          <a:ln>
            <a:noFill/>
          </a:ln>
        </p:spPr>
        <p:txBody>
          <a:bodyPr wrap="square" lIns="0" tIns="0" rIns="0" bIns="0" rtlCol="0" anchor="b" anchorCtr="0">
            <a:spAutoFit/>
          </a:bodyPr>
          <a:lstStyle/>
          <a:p>
            <a:r>
              <a:rPr lang="en-GB" sz="794" noProof="1"/>
              <a:t>Sports industry: lost in transition?</a:t>
            </a:r>
          </a:p>
        </p:txBody>
      </p:sp>
      <p:pic>
        <p:nvPicPr>
          <p:cNvPr id="2" name="Picture 1"/>
          <p:cNvPicPr>
            <a:picLocks noChangeAspect="1"/>
          </p:cNvPicPr>
          <p:nvPr/>
        </p:nvPicPr>
        <p:blipFill rotWithShape="1">
          <a:blip r:embed="rId12"/>
          <a:srcRect t="16749"/>
          <a:stretch/>
        </p:blipFill>
        <p:spPr>
          <a:xfrm>
            <a:off x="503631" y="2913652"/>
            <a:ext cx="10647948" cy="3008713"/>
          </a:xfrm>
          <a:prstGeom prst="rect">
            <a:avLst/>
          </a:prstGeom>
        </p:spPr>
      </p:pic>
      <p:sp>
        <p:nvSpPr>
          <p:cNvPr id="59" name="Rectangle 58"/>
          <p:cNvSpPr/>
          <p:nvPr/>
        </p:nvSpPr>
        <p:spPr>
          <a:xfrm>
            <a:off x="503631" y="396674"/>
            <a:ext cx="2051310" cy="370329"/>
          </a:xfrm>
          <a:prstGeom prst="rect">
            <a:avLst/>
          </a:prstGeom>
          <a:solidFill>
            <a:schemeClr val="accent2"/>
          </a:solidFill>
          <a:ln w="6350">
            <a:noFill/>
          </a:ln>
        </p:spPr>
        <p:txBody>
          <a:bodyPr vert="horz" wrap="square" lIns="80682" tIns="40341" rIns="80682" bIns="40341" rtlCol="0" anchor="ctr">
            <a:noAutofit/>
          </a:bodyPr>
          <a:lstStyle/>
          <a:p>
            <a:pPr algn="ctr"/>
            <a:r>
              <a:rPr lang="en-GB" sz="1588" i="1" dirty="0">
                <a:solidFill>
                  <a:schemeClr val="bg2"/>
                </a:solidFill>
                <a:latin typeface="+mj-lt"/>
              </a:rPr>
              <a:t>Media</a:t>
            </a:r>
          </a:p>
        </p:txBody>
      </p:sp>
      <p:sp>
        <p:nvSpPr>
          <p:cNvPr id="64" name="TextBox 63"/>
          <p:cNvSpPr txBox="1"/>
          <p:nvPr/>
        </p:nvSpPr>
        <p:spPr>
          <a:xfrm>
            <a:off x="503631" y="1910859"/>
            <a:ext cx="1605605" cy="240756"/>
          </a:xfrm>
          <a:prstGeom prst="rect">
            <a:avLst/>
          </a:prstGeom>
          <a:solidFill>
            <a:schemeClr val="bg1"/>
          </a:solidFill>
        </p:spPr>
        <p:txBody>
          <a:bodyPr wrap="none" lIns="0" tIns="0" rIns="0" bIns="0" rtlCol="0">
            <a:noAutofit/>
          </a:bodyPr>
          <a:lstStyle/>
          <a:p>
            <a:pPr indent="-181496">
              <a:spcAft>
                <a:spcPts val="596"/>
              </a:spcAft>
            </a:pPr>
            <a:r>
              <a:rPr lang="en-GB" sz="1588" b="1" dirty="0">
                <a:solidFill>
                  <a:srgbClr val="000000"/>
                </a:solidFill>
                <a:latin typeface="+mj-lt"/>
              </a:rPr>
              <a:t>Sports Viewership through online screens, age split for live vs non-live consumption</a:t>
            </a:r>
          </a:p>
        </p:txBody>
      </p:sp>
      <p:sp>
        <p:nvSpPr>
          <p:cNvPr id="65" name="Rounded Rectangle 64"/>
          <p:cNvSpPr/>
          <p:nvPr/>
        </p:nvSpPr>
        <p:spPr>
          <a:xfrm>
            <a:off x="7954871" y="282593"/>
            <a:ext cx="3989222" cy="1138953"/>
          </a:xfrm>
          <a:prstGeom prst="roundRect">
            <a:avLst/>
          </a:prstGeom>
          <a:solidFill>
            <a:schemeClr val="bg1"/>
          </a:solidFill>
          <a:ln w="6350">
            <a:noFill/>
          </a:ln>
        </p:spPr>
        <p:txBody>
          <a:bodyPr vert="horz" wrap="square" lIns="80682" tIns="40341" rIns="80682" bIns="40341" rtlCol="0" anchor="ctr">
            <a:noAutofit/>
          </a:bodyPr>
          <a:lstStyle/>
          <a:p>
            <a:pPr algn="ctr"/>
            <a:endParaRPr lang="en-GB" sz="1588" dirty="0"/>
          </a:p>
        </p:txBody>
      </p:sp>
      <p:pic>
        <p:nvPicPr>
          <p:cNvPr id="60" name="Picture 59" descr="IRIS LOGO Abbinder 2"/>
          <p:cNvPicPr/>
          <p:nvPr/>
        </p:nvPicPr>
        <p:blipFill rotWithShape="1">
          <a:blip r:embed="rId13">
            <a:extLst>
              <a:ext uri="{28A0092B-C50C-407E-A947-70E740481C1C}">
                <a14:useLocalDpi xmlns:a14="http://schemas.microsoft.com/office/drawing/2010/main" val="0"/>
              </a:ext>
            </a:extLst>
          </a:blip>
          <a:srcRect l="80042"/>
          <a:stretch/>
        </p:blipFill>
        <p:spPr bwMode="auto">
          <a:xfrm>
            <a:off x="10532856" y="410535"/>
            <a:ext cx="1051674" cy="705971"/>
          </a:xfrm>
          <a:prstGeom prst="rect">
            <a:avLst/>
          </a:prstGeom>
          <a:noFill/>
          <a:ln>
            <a:noFill/>
          </a:ln>
        </p:spPr>
      </p:pic>
      <p:sp>
        <p:nvSpPr>
          <p:cNvPr id="67" name="Rectangle 66"/>
          <p:cNvSpPr/>
          <p:nvPr/>
        </p:nvSpPr>
        <p:spPr>
          <a:xfrm>
            <a:off x="8244858" y="485967"/>
            <a:ext cx="2178942" cy="635430"/>
          </a:xfrm>
          <a:prstGeom prst="rect">
            <a:avLst/>
          </a:prstGeom>
        </p:spPr>
        <p:txBody>
          <a:bodyPr wrap="square">
            <a:spAutoFit/>
          </a:bodyPr>
          <a:lstStyle/>
          <a:p>
            <a:r>
              <a:rPr lang="en-GB" sz="1059" dirty="0">
                <a:solidFill>
                  <a:srgbClr val="00B0F0"/>
                </a:solidFill>
                <a:latin typeface="Calibri" panose="020F0502020204030204" pitchFamily="34" charset="0"/>
              </a:rPr>
              <a:t>Data provided by: </a:t>
            </a:r>
          </a:p>
          <a:p>
            <a:r>
              <a:rPr lang="en-GB" sz="1235" b="1" i="1" dirty="0">
                <a:solidFill>
                  <a:srgbClr val="00B0F0"/>
                </a:solidFill>
                <a:latin typeface="Calibri" panose="020F0502020204030204" pitchFamily="34" charset="0"/>
              </a:rPr>
              <a:t>IRIS - Intelligent Research in Sponsoring</a:t>
            </a:r>
            <a:endParaRPr lang="en-GB" sz="1235" b="1" i="1" dirty="0">
              <a:solidFill>
                <a:srgbClr val="00B0F0"/>
              </a:solidFill>
            </a:endParaRPr>
          </a:p>
        </p:txBody>
      </p:sp>
      <p:pic>
        <p:nvPicPr>
          <p:cNvPr id="68" name="Picture 67"/>
          <p:cNvPicPr>
            <a:picLocks noChangeAspect="1"/>
          </p:cNvPicPr>
          <p:nvPr/>
        </p:nvPicPr>
        <p:blipFill rotWithShape="1">
          <a:blip r:embed="rId14"/>
          <a:srcRect l="84768" t="22989" b="41186"/>
          <a:stretch/>
        </p:blipFill>
        <p:spPr>
          <a:xfrm>
            <a:off x="10685839" y="1692088"/>
            <a:ext cx="1178009" cy="1182222"/>
          </a:xfrm>
          <a:prstGeom prst="rect">
            <a:avLst/>
          </a:prstGeom>
        </p:spPr>
      </p:pic>
      <p:sp>
        <p:nvSpPr>
          <p:cNvPr id="69" name="Trapezoid 68"/>
          <p:cNvSpPr/>
          <p:nvPr/>
        </p:nvSpPr>
        <p:spPr>
          <a:xfrm>
            <a:off x="10471731" y="2835210"/>
            <a:ext cx="1392117" cy="324849"/>
          </a:xfrm>
          <a:prstGeom prst="trapezoid">
            <a:avLst>
              <a:gd name="adj" fmla="val 65541"/>
            </a:avLst>
          </a:prstGeom>
          <a:solidFill>
            <a:schemeClr val="tx2">
              <a:lumMod val="60000"/>
              <a:lumOff val="40000"/>
            </a:schemeClr>
          </a:solidFill>
          <a:ln w="6350">
            <a:noFill/>
          </a:ln>
        </p:spPr>
        <p:txBody>
          <a:bodyPr vert="horz" wrap="square" lIns="80682" tIns="40341" rIns="80682" bIns="40341" rtlCol="0" anchor="ctr">
            <a:noAutofit/>
          </a:bodyPr>
          <a:lstStyle/>
          <a:p>
            <a:pPr algn="ctr"/>
            <a:r>
              <a:rPr lang="en-GB" sz="1588" dirty="0">
                <a:solidFill>
                  <a:schemeClr val="bg1"/>
                </a:solidFill>
              </a:rPr>
              <a:t>Mobile, Tablet, Laptop, Desktop</a:t>
            </a:r>
          </a:p>
        </p:txBody>
      </p:sp>
      <p:sp>
        <p:nvSpPr>
          <p:cNvPr id="70" name="877">
            <a:hlinkClick r:id="" action="ppaction://noaction"/>
          </p:cNvPr>
          <p:cNvSpPr txBox="1"/>
          <p:nvPr>
            <p:custDataLst>
              <p:tags r:id="rId7"/>
            </p:custDataLst>
          </p:nvPr>
        </p:nvSpPr>
        <p:spPr>
          <a:xfrm>
            <a:off x="11084146" y="621255"/>
            <a:ext cx="420779" cy="122213"/>
          </a:xfrm>
          <a:prstGeom prst="rect">
            <a:avLst/>
          </a:prstGeom>
          <a:noFill/>
          <a:ln>
            <a:noFill/>
          </a:ln>
        </p:spPr>
        <p:txBody>
          <a:bodyPr wrap="none" lIns="24205" tIns="0" rIns="24205" bIns="0" rtlCol="0">
            <a:spAutoFit/>
          </a:bodyPr>
          <a:lstStyle/>
          <a:p>
            <a:r>
              <a:rPr lang="en-GB" sz="794" noProof="1">
                <a:cs typeface="Arial" pitchFamily="34" charset="0"/>
              </a:rPr>
              <a:t>Contents</a:t>
            </a:r>
          </a:p>
        </p:txBody>
      </p:sp>
    </p:spTree>
    <p:custDataLst>
      <p:tags r:id="rId1"/>
    </p:custDataLst>
    <p:extLst>
      <p:ext uri="{BB962C8B-B14F-4D97-AF65-F5344CB8AC3E}">
        <p14:creationId xmlns:p14="http://schemas.microsoft.com/office/powerpoint/2010/main" val="8409400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 name="Image 2">
            <a:extLst>
              <a:ext uri="{FF2B5EF4-FFF2-40B4-BE49-F238E27FC236}">
                <a16:creationId xmlns:a16="http://schemas.microsoft.com/office/drawing/2014/main" id="{353BD4A6-59A9-F1C4-D636-CC92BD094D1A}"/>
              </a:ext>
            </a:extLst>
          </p:cNvPr>
          <p:cNvPicPr>
            <a:picLocks noChangeAspect="1"/>
          </p:cNvPicPr>
          <p:nvPr/>
        </p:nvPicPr>
        <p:blipFill rotWithShape="1">
          <a:blip r:embed="rId2"/>
          <a:srcRect b="5875"/>
          <a:stretch/>
        </p:blipFill>
        <p:spPr>
          <a:xfrm>
            <a:off x="20" y="1282"/>
            <a:ext cx="12191980" cy="6856718"/>
          </a:xfrm>
          <a:prstGeom prst="rect">
            <a:avLst/>
          </a:prstGeom>
        </p:spPr>
      </p:pic>
    </p:spTree>
    <p:extLst>
      <p:ext uri="{BB962C8B-B14F-4D97-AF65-F5344CB8AC3E}">
        <p14:creationId xmlns:p14="http://schemas.microsoft.com/office/powerpoint/2010/main" val="21895812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9" name="Object 58" hidden="1"/>
          <p:cNvGraphicFramePr>
            <a:graphicFrameLocks noChangeAspect="1"/>
          </p:cNvGraphicFramePr>
          <p:nvPr>
            <p:custDataLst>
              <p:tags r:id="rId2"/>
            </p:custDataLst>
          </p:nvPr>
        </p:nvGraphicFramePr>
        <p:xfrm>
          <a:off x="1402" y="1402"/>
          <a:ext cx="1400" cy="1400"/>
        </p:xfrm>
        <a:graphic>
          <a:graphicData uri="http://schemas.openxmlformats.org/presentationml/2006/ole">
            <mc:AlternateContent xmlns:mc="http://schemas.openxmlformats.org/markup-compatibility/2006">
              <mc:Choice xmlns:v="urn:schemas-microsoft-com:vml" Requires="v">
                <p:oleObj name="think-cell Slide" r:id="rId10" imgW="622" imgH="623" progId="TCLayout.ActiveDocument.1">
                  <p:embed/>
                </p:oleObj>
              </mc:Choice>
              <mc:Fallback>
                <p:oleObj name="think-cell Slide" r:id="rId10" imgW="622" imgH="623" progId="TCLayout.ActiveDocument.1">
                  <p:embed/>
                  <p:pic>
                    <p:nvPicPr>
                      <p:cNvPr id="59" name="Object 58" hidden="1"/>
                      <p:cNvPicPr/>
                      <p:nvPr/>
                    </p:nvPicPr>
                    <p:blipFill>
                      <a:blip r:embed="rId11"/>
                      <a:stretch>
                        <a:fillRect/>
                      </a:stretch>
                    </p:blipFill>
                    <p:spPr>
                      <a:xfrm>
                        <a:off x="1402" y="1402"/>
                        <a:ext cx="1400" cy="1400"/>
                      </a:xfrm>
                      <a:prstGeom prst="rect">
                        <a:avLst/>
                      </a:prstGeom>
                    </p:spPr>
                  </p:pic>
                </p:oleObj>
              </mc:Fallback>
            </mc:AlternateContent>
          </a:graphicData>
        </a:graphic>
      </p:graphicFrame>
      <p:grpSp>
        <p:nvGrpSpPr>
          <p:cNvPr id="4" name="Grid" hidden="1"/>
          <p:cNvGrpSpPr/>
          <p:nvPr>
            <p:custDataLst>
              <p:tags r:id="rId3"/>
            </p:custDataLst>
          </p:nvPr>
        </p:nvGrpSpPr>
        <p:grpSpPr>
          <a:xfrm>
            <a:off x="590911" y="540572"/>
            <a:ext cx="10958239" cy="6043108"/>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971"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971"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707409">
                <a:buSzPct val="90000"/>
                <a:defRPr/>
              </a:pPr>
              <a:endParaRPr lang="en-GB" sz="1235"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sp>
        <p:nvSpPr>
          <p:cNvPr id="3" name="Title 2"/>
          <p:cNvSpPr>
            <a:spLocks noGrp="1"/>
          </p:cNvSpPr>
          <p:nvPr>
            <p:ph type="title"/>
          </p:nvPr>
        </p:nvSpPr>
        <p:spPr/>
        <p:txBody>
          <a:bodyPr/>
          <a:lstStyle/>
          <a:p>
            <a:r>
              <a:rPr lang="en-GB" dirty="0"/>
              <a:t>Key trends: what is the market telling us?</a:t>
            </a:r>
            <a:br>
              <a:rPr lang="en-GB" dirty="0"/>
            </a:br>
            <a:r>
              <a:rPr lang="en-GB" b="0" dirty="0"/>
              <a:t>Overall state of the industry: key threats</a:t>
            </a:r>
            <a:endParaRPr lang="en-GB" dirty="0"/>
          </a:p>
        </p:txBody>
      </p:sp>
      <p:sp>
        <p:nvSpPr>
          <p:cNvPr id="55" name="Section Header"/>
          <p:cNvSpPr txBox="1"/>
          <p:nvPr>
            <p:custDataLst>
              <p:tags r:id="rId4"/>
            </p:custDataLst>
          </p:nvPr>
        </p:nvSpPr>
        <p:spPr>
          <a:xfrm>
            <a:off x="590911" y="621254"/>
            <a:ext cx="3695552" cy="121024"/>
          </a:xfrm>
          <a:prstGeom prst="rect">
            <a:avLst/>
          </a:prstGeom>
          <a:noFill/>
        </p:spPr>
        <p:txBody>
          <a:bodyPr wrap="square" lIns="0" tIns="0" rIns="0" bIns="0" rtlCol="0" anchor="b" anchorCtr="0">
            <a:noAutofit/>
          </a:bodyPr>
          <a:lstStyle/>
          <a:p>
            <a:r>
              <a:rPr lang="en-GB" sz="794" noProof="1"/>
              <a:t>0.1 Introduction: why are we here?</a:t>
            </a:r>
          </a:p>
        </p:txBody>
      </p:sp>
      <p:sp>
        <p:nvSpPr>
          <p:cNvPr id="56" name="Page Number"/>
          <p:cNvSpPr txBox="1"/>
          <p:nvPr>
            <p:custDataLst>
              <p:tags r:id="rId5"/>
            </p:custDataLst>
          </p:nvPr>
        </p:nvSpPr>
        <p:spPr>
          <a:xfrm>
            <a:off x="11151579" y="6308261"/>
            <a:ext cx="387927" cy="122205"/>
          </a:xfrm>
          <a:prstGeom prst="rect">
            <a:avLst/>
          </a:prstGeom>
          <a:noFill/>
          <a:ln>
            <a:noFill/>
          </a:ln>
        </p:spPr>
        <p:txBody>
          <a:bodyPr wrap="square" lIns="0" tIns="0" rIns="0" bIns="0" rtlCol="0">
            <a:noAutofit/>
          </a:bodyPr>
          <a:lstStyle/>
          <a:p>
            <a:pPr algn="r"/>
            <a:r>
              <a:rPr lang="en-GB" sz="794">
                <a:cs typeface="Arial" pitchFamily="34" charset="0"/>
              </a:rPr>
              <a:t>11</a:t>
            </a:r>
            <a:endParaRPr lang="en-GB" sz="794" dirty="0">
              <a:cs typeface="Arial" pitchFamily="34" charset="0"/>
            </a:endParaRPr>
          </a:p>
        </p:txBody>
      </p:sp>
      <p:sp>
        <p:nvSpPr>
          <p:cNvPr id="57" name="Section Footer"/>
          <p:cNvSpPr txBox="1"/>
          <p:nvPr>
            <p:custDataLst>
              <p:tags r:id="rId6"/>
            </p:custDataLst>
          </p:nvPr>
        </p:nvSpPr>
        <p:spPr>
          <a:xfrm>
            <a:off x="589520" y="6308253"/>
            <a:ext cx="2557631" cy="122213"/>
          </a:xfrm>
          <a:prstGeom prst="rect">
            <a:avLst/>
          </a:prstGeom>
          <a:noFill/>
          <a:ln>
            <a:noFill/>
          </a:ln>
        </p:spPr>
        <p:txBody>
          <a:bodyPr wrap="square" lIns="0" tIns="0" rIns="0" bIns="0" rtlCol="0" anchor="b" anchorCtr="0">
            <a:spAutoFit/>
          </a:bodyPr>
          <a:lstStyle/>
          <a:p>
            <a:r>
              <a:rPr lang="en-GB" sz="794" noProof="1"/>
              <a:t>Sports industry: lost in transition?</a:t>
            </a:r>
          </a:p>
        </p:txBody>
      </p:sp>
      <p:sp>
        <p:nvSpPr>
          <p:cNvPr id="58" name="Rectangle 57"/>
          <p:cNvSpPr/>
          <p:nvPr/>
        </p:nvSpPr>
        <p:spPr>
          <a:xfrm>
            <a:off x="0" y="-11526"/>
            <a:ext cx="12192000" cy="6127249"/>
          </a:xfrm>
          <a:prstGeom prst="rect">
            <a:avLst/>
          </a:prstGeom>
          <a:solidFill>
            <a:srgbClr val="FFFFFF"/>
          </a:solidFill>
          <a:ln w="6350">
            <a:solidFill>
              <a:schemeClr val="bg1"/>
            </a:solidFill>
          </a:ln>
        </p:spPr>
        <p:txBody>
          <a:bodyPr vert="horz" wrap="square" lIns="80682" tIns="40341" rIns="80682" bIns="40341" rtlCol="0" anchor="ctr">
            <a:noAutofit/>
          </a:bodyPr>
          <a:lstStyle/>
          <a:p>
            <a:pPr algn="ctr"/>
            <a:endParaRPr lang="en-GB" sz="1588" dirty="0"/>
          </a:p>
        </p:txBody>
      </p:sp>
      <p:sp>
        <p:nvSpPr>
          <p:cNvPr id="65" name="Left Bracket 64"/>
          <p:cNvSpPr/>
          <p:nvPr/>
        </p:nvSpPr>
        <p:spPr>
          <a:xfrm>
            <a:off x="3022703" y="1176741"/>
            <a:ext cx="69554" cy="3090134"/>
          </a:xfrm>
          <a:prstGeom prst="leftBracket">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588" dirty="0"/>
          </a:p>
        </p:txBody>
      </p:sp>
      <p:sp>
        <p:nvSpPr>
          <p:cNvPr id="70" name="Rectangle 69"/>
          <p:cNvSpPr/>
          <p:nvPr/>
        </p:nvSpPr>
        <p:spPr>
          <a:xfrm>
            <a:off x="0" y="-11526"/>
            <a:ext cx="3463681" cy="6869526"/>
          </a:xfrm>
          <a:prstGeom prst="rect">
            <a:avLst/>
          </a:prstGeom>
          <a:solidFill>
            <a:schemeClr val="bg1">
              <a:lumMod val="95000"/>
            </a:schemeClr>
          </a:solidFill>
          <a:ln w="6350">
            <a:noFill/>
          </a:ln>
        </p:spPr>
        <p:txBody>
          <a:bodyPr vert="horz" wrap="square" lIns="80682" tIns="40341" rIns="80682" bIns="40341" rtlCol="0" anchor="ctr">
            <a:noAutofit/>
          </a:bodyPr>
          <a:lstStyle/>
          <a:p>
            <a:pPr algn="ctr"/>
            <a:endParaRPr lang="en-GB" sz="1588" dirty="0"/>
          </a:p>
        </p:txBody>
      </p:sp>
      <p:sp>
        <p:nvSpPr>
          <p:cNvPr id="69" name="Title 2"/>
          <p:cNvSpPr txBox="1">
            <a:spLocks/>
          </p:cNvSpPr>
          <p:nvPr/>
        </p:nvSpPr>
        <p:spPr>
          <a:xfrm>
            <a:off x="404469" y="2128285"/>
            <a:ext cx="2318561" cy="3010632"/>
          </a:xfrm>
          <a:prstGeom prst="rect">
            <a:avLst/>
          </a:prstGeom>
        </p:spPr>
        <p:txBody>
          <a:bodyPr vert="horz" lIns="0" tIns="0" rIns="0" bIns="0" rtlCol="0" anchor="t" anchorCtr="0">
            <a:noAutofit/>
          </a:bodyPr>
          <a:lstStyle>
            <a:lvl1pPr>
              <a:spcBef>
                <a:spcPct val="0"/>
              </a:spcBef>
              <a:buNone/>
              <a:defRPr lang="en-GB" sz="2400" b="1" i="1" baseline="0" noProof="0" dirty="0">
                <a:solidFill>
                  <a:schemeClr val="tx2"/>
                </a:solidFill>
                <a:latin typeface="+mj-lt"/>
                <a:ea typeface="+mj-ea"/>
                <a:cs typeface="+mj-cs"/>
              </a:defRPr>
            </a:lvl1pPr>
          </a:lstStyle>
          <a:p>
            <a:br>
              <a:rPr lang="en-GB" sz="2647" dirty="0"/>
            </a:br>
            <a:r>
              <a:rPr lang="en-GB" sz="2647" dirty="0"/>
              <a:t>Expected growth of content and channel going forward</a:t>
            </a:r>
            <a:endParaRPr lang="en-GB" sz="2647" b="0" dirty="0"/>
          </a:p>
        </p:txBody>
      </p:sp>
      <p:sp>
        <p:nvSpPr>
          <p:cNvPr id="67" name="Rectangle 66"/>
          <p:cNvSpPr/>
          <p:nvPr/>
        </p:nvSpPr>
        <p:spPr>
          <a:xfrm>
            <a:off x="387372" y="1985562"/>
            <a:ext cx="2051310" cy="370329"/>
          </a:xfrm>
          <a:prstGeom prst="rect">
            <a:avLst/>
          </a:prstGeom>
          <a:solidFill>
            <a:schemeClr val="accent2"/>
          </a:solidFill>
          <a:ln w="6350">
            <a:noFill/>
          </a:ln>
        </p:spPr>
        <p:txBody>
          <a:bodyPr vert="horz" wrap="square" lIns="80682" tIns="40341" rIns="80682" bIns="40341" rtlCol="0" anchor="ctr">
            <a:noAutofit/>
          </a:bodyPr>
          <a:lstStyle/>
          <a:p>
            <a:pPr algn="ctr"/>
            <a:r>
              <a:rPr lang="en-GB" sz="1588" i="1" dirty="0">
                <a:solidFill>
                  <a:schemeClr val="bg2"/>
                </a:solidFill>
                <a:latin typeface="+mj-lt"/>
              </a:rPr>
              <a:t>Media</a:t>
            </a:r>
          </a:p>
        </p:txBody>
      </p:sp>
      <p:sp>
        <p:nvSpPr>
          <p:cNvPr id="60" name="Rectangle 59"/>
          <p:cNvSpPr/>
          <p:nvPr/>
        </p:nvSpPr>
        <p:spPr>
          <a:xfrm>
            <a:off x="3462231" y="12606"/>
            <a:ext cx="8728319" cy="6855199"/>
          </a:xfrm>
          <a:prstGeom prst="rect">
            <a:avLst/>
          </a:prstGeom>
          <a:solidFill>
            <a:srgbClr val="FFFFFF"/>
          </a:solidFill>
          <a:ln w="6350">
            <a:noFill/>
          </a:ln>
        </p:spPr>
        <p:txBody>
          <a:bodyPr vert="horz" wrap="square" lIns="80682" tIns="40341" rIns="80682" bIns="40341" rtlCol="0" anchor="ctr">
            <a:noAutofit/>
          </a:bodyPr>
          <a:lstStyle/>
          <a:p>
            <a:pPr algn="ctr"/>
            <a:endParaRPr lang="en-GB" sz="1588" dirty="0"/>
          </a:p>
        </p:txBody>
      </p:sp>
      <p:pic>
        <p:nvPicPr>
          <p:cNvPr id="2" name="Picture 1"/>
          <p:cNvPicPr>
            <a:picLocks/>
          </p:cNvPicPr>
          <p:nvPr/>
        </p:nvPicPr>
        <p:blipFill>
          <a:blip r:embed="rId12"/>
          <a:stretch>
            <a:fillRect/>
          </a:stretch>
        </p:blipFill>
        <p:spPr>
          <a:xfrm>
            <a:off x="4411763" y="842181"/>
            <a:ext cx="6486767" cy="5741499"/>
          </a:xfrm>
          <a:prstGeom prst="rect">
            <a:avLst/>
          </a:prstGeom>
        </p:spPr>
      </p:pic>
      <p:sp>
        <p:nvSpPr>
          <p:cNvPr id="71" name="TextBox 70"/>
          <p:cNvSpPr txBox="1"/>
          <p:nvPr/>
        </p:nvSpPr>
        <p:spPr>
          <a:xfrm>
            <a:off x="8889537" y="307016"/>
            <a:ext cx="1605605" cy="240756"/>
          </a:xfrm>
          <a:prstGeom prst="rect">
            <a:avLst/>
          </a:prstGeom>
          <a:solidFill>
            <a:schemeClr val="bg1"/>
          </a:solidFill>
        </p:spPr>
        <p:txBody>
          <a:bodyPr wrap="none" lIns="0" tIns="0" rIns="0" bIns="0" rtlCol="0">
            <a:noAutofit/>
          </a:bodyPr>
          <a:lstStyle/>
          <a:p>
            <a:pPr indent="-181496" algn="ctr">
              <a:spcAft>
                <a:spcPts val="596"/>
              </a:spcAft>
            </a:pPr>
            <a:r>
              <a:rPr lang="en-GB" sz="1588" b="1" dirty="0">
                <a:solidFill>
                  <a:srgbClr val="000000"/>
                </a:solidFill>
                <a:latin typeface="+mj-lt"/>
              </a:rPr>
              <a:t>Consumption channel</a:t>
            </a:r>
          </a:p>
        </p:txBody>
      </p:sp>
      <p:sp>
        <p:nvSpPr>
          <p:cNvPr id="73" name="TextBox 72"/>
          <p:cNvSpPr txBox="1"/>
          <p:nvPr/>
        </p:nvSpPr>
        <p:spPr>
          <a:xfrm>
            <a:off x="4828798" y="307016"/>
            <a:ext cx="1605605" cy="240756"/>
          </a:xfrm>
          <a:prstGeom prst="rect">
            <a:avLst/>
          </a:prstGeom>
          <a:solidFill>
            <a:schemeClr val="bg1"/>
          </a:solidFill>
        </p:spPr>
        <p:txBody>
          <a:bodyPr wrap="none" lIns="0" tIns="0" rIns="0" bIns="0" rtlCol="0">
            <a:noAutofit/>
          </a:bodyPr>
          <a:lstStyle/>
          <a:p>
            <a:pPr indent="-181496" algn="ctr">
              <a:spcAft>
                <a:spcPts val="596"/>
              </a:spcAft>
            </a:pPr>
            <a:r>
              <a:rPr lang="en-GB" sz="1588" b="1" dirty="0">
                <a:solidFill>
                  <a:srgbClr val="000000"/>
                </a:solidFill>
                <a:latin typeface="+mj-lt"/>
              </a:rPr>
              <a:t>Type of content</a:t>
            </a:r>
          </a:p>
        </p:txBody>
      </p:sp>
      <p:sp>
        <p:nvSpPr>
          <p:cNvPr id="72" name="877">
            <a:hlinkClick r:id="" action="ppaction://noaction"/>
          </p:cNvPr>
          <p:cNvSpPr txBox="1"/>
          <p:nvPr>
            <p:custDataLst>
              <p:tags r:id="rId7"/>
            </p:custDataLst>
          </p:nvPr>
        </p:nvSpPr>
        <p:spPr>
          <a:xfrm>
            <a:off x="11084146" y="621255"/>
            <a:ext cx="420779" cy="122213"/>
          </a:xfrm>
          <a:prstGeom prst="rect">
            <a:avLst/>
          </a:prstGeom>
          <a:noFill/>
          <a:ln>
            <a:noFill/>
          </a:ln>
        </p:spPr>
        <p:txBody>
          <a:bodyPr wrap="none" lIns="24205" tIns="0" rIns="24205" bIns="0" rtlCol="0">
            <a:spAutoFit/>
          </a:bodyPr>
          <a:lstStyle/>
          <a:p>
            <a:r>
              <a:rPr lang="en-GB" sz="794" noProof="1">
                <a:cs typeface="Arial" pitchFamily="34" charset="0"/>
              </a:rPr>
              <a:t>Contents</a:t>
            </a:r>
          </a:p>
        </p:txBody>
      </p:sp>
    </p:spTree>
    <p:custDataLst>
      <p:tags r:id="rId1"/>
    </p:custDataLst>
    <p:extLst>
      <p:ext uri="{BB962C8B-B14F-4D97-AF65-F5344CB8AC3E}">
        <p14:creationId xmlns:p14="http://schemas.microsoft.com/office/powerpoint/2010/main" val="26875017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Média en ligne 2" title="All Blacks and AIG for Diversity">
            <a:hlinkClick r:id="" action="ppaction://media"/>
            <a:extLst>
              <a:ext uri="{FF2B5EF4-FFF2-40B4-BE49-F238E27FC236}">
                <a16:creationId xmlns:a16="http://schemas.microsoft.com/office/drawing/2014/main" id="{1105DBF6-2FEB-8B56-CA20-B613A197FAF2}"/>
              </a:ext>
            </a:extLst>
          </p:cNvPr>
          <p:cNvPicPr>
            <a:picLocks noRot="1" noChangeAspect="1"/>
          </p:cNvPicPr>
          <p:nvPr>
            <a:videoFile r:link="rId1"/>
          </p:nvPr>
        </p:nvPicPr>
        <p:blipFill>
          <a:blip r:embed="rId3"/>
          <a:stretch>
            <a:fillRect/>
          </a:stretch>
        </p:blipFill>
        <p:spPr>
          <a:xfrm>
            <a:off x="0" y="87464"/>
            <a:ext cx="12192000" cy="6888480"/>
          </a:xfrm>
          <a:prstGeom prst="rect">
            <a:avLst/>
          </a:prstGeom>
        </p:spPr>
      </p:pic>
    </p:spTree>
    <p:extLst>
      <p:ext uri="{BB962C8B-B14F-4D97-AF65-F5344CB8AC3E}">
        <p14:creationId xmlns:p14="http://schemas.microsoft.com/office/powerpoint/2010/main" val="669487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77" name="Object 176" hidden="1"/>
          <p:cNvGraphicFramePr>
            <a:graphicFrameLocks noChangeAspect="1"/>
          </p:cNvGraphicFramePr>
          <p:nvPr>
            <p:custDataLst>
              <p:tags r:id="rId2"/>
            </p:custDataLst>
          </p:nvPr>
        </p:nvGraphicFramePr>
        <p:xfrm>
          <a:off x="1402" y="1402"/>
          <a:ext cx="1400" cy="1400"/>
        </p:xfrm>
        <a:graphic>
          <a:graphicData uri="http://schemas.openxmlformats.org/presentationml/2006/ole">
            <mc:AlternateContent xmlns:mc="http://schemas.openxmlformats.org/markup-compatibility/2006">
              <mc:Choice xmlns:v="urn:schemas-microsoft-com:vml" Requires="v">
                <p:oleObj name="think-cell Slide" r:id="rId10" imgW="360" imgH="360" progId="TCLayout.ActiveDocument.1">
                  <p:embed/>
                </p:oleObj>
              </mc:Choice>
              <mc:Fallback>
                <p:oleObj name="think-cell Slide" r:id="rId10" imgW="360" imgH="360" progId="TCLayout.ActiveDocument.1">
                  <p:embed/>
                  <p:pic>
                    <p:nvPicPr>
                      <p:cNvPr id="177" name="Object 176" hidden="1"/>
                      <p:cNvPicPr/>
                      <p:nvPr/>
                    </p:nvPicPr>
                    <p:blipFill>
                      <a:blip r:embed="rId11"/>
                      <a:stretch>
                        <a:fillRect/>
                      </a:stretch>
                    </p:blipFill>
                    <p:spPr>
                      <a:xfrm>
                        <a:off x="1402" y="1402"/>
                        <a:ext cx="1400" cy="1400"/>
                      </a:xfrm>
                      <a:prstGeom prst="rect">
                        <a:avLst/>
                      </a:prstGeom>
                    </p:spPr>
                  </p:pic>
                </p:oleObj>
              </mc:Fallback>
            </mc:AlternateContent>
          </a:graphicData>
        </a:graphic>
      </p:graphicFrame>
      <p:cxnSp>
        <p:nvCxnSpPr>
          <p:cNvPr id="110" name="Straight Connector 109"/>
          <p:cNvCxnSpPr/>
          <p:nvPr/>
        </p:nvCxnSpPr>
        <p:spPr>
          <a:xfrm flipV="1">
            <a:off x="1006122" y="4168699"/>
            <a:ext cx="10566124" cy="11651"/>
          </a:xfrm>
          <a:prstGeom prst="line">
            <a:avLst/>
          </a:prstGeom>
          <a:noFill/>
          <a:ln w="19050" cap="flat" cmpd="sng" algn="ctr">
            <a:solidFill>
              <a:schemeClr val="tx1">
                <a:lumMod val="50000"/>
                <a:lumOff val="50000"/>
              </a:schemeClr>
            </a:solidFill>
            <a:prstDash val="dash"/>
          </a:ln>
          <a:effectLst/>
        </p:spPr>
      </p:cxnSp>
      <p:grpSp>
        <p:nvGrpSpPr>
          <p:cNvPr id="4" name="Grid" hidden="1"/>
          <p:cNvGrpSpPr/>
          <p:nvPr>
            <p:custDataLst>
              <p:tags r:id="rId3"/>
            </p:custDataLst>
          </p:nvPr>
        </p:nvGrpSpPr>
        <p:grpSpPr>
          <a:xfrm>
            <a:off x="590911" y="540572"/>
            <a:ext cx="10958239" cy="6043108"/>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971"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971"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707409">
                <a:buSzPct val="90000"/>
                <a:defRPr/>
              </a:pPr>
              <a:endParaRPr lang="en-GB" sz="1235"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sp>
        <p:nvSpPr>
          <p:cNvPr id="3" name="Title 2"/>
          <p:cNvSpPr>
            <a:spLocks noGrp="1"/>
          </p:cNvSpPr>
          <p:nvPr>
            <p:ph type="title"/>
          </p:nvPr>
        </p:nvSpPr>
        <p:spPr/>
        <p:txBody>
          <a:bodyPr/>
          <a:lstStyle/>
          <a:p>
            <a:r>
              <a:rPr lang="en-GB" dirty="0"/>
              <a:t>Annual growth rate by revenue stream in next 3-5 years</a:t>
            </a:r>
            <a:br>
              <a:rPr lang="en-GB" dirty="0"/>
            </a:br>
            <a:endParaRPr lang="en-GB" sz="1765" b="0" dirty="0"/>
          </a:p>
        </p:txBody>
      </p:sp>
      <p:sp>
        <p:nvSpPr>
          <p:cNvPr id="55" name="Section Header"/>
          <p:cNvSpPr txBox="1"/>
          <p:nvPr>
            <p:custDataLst>
              <p:tags r:id="rId4"/>
            </p:custDataLst>
          </p:nvPr>
        </p:nvSpPr>
        <p:spPr>
          <a:xfrm>
            <a:off x="590911" y="621254"/>
            <a:ext cx="3695552" cy="121024"/>
          </a:xfrm>
          <a:prstGeom prst="rect">
            <a:avLst/>
          </a:prstGeom>
          <a:noFill/>
        </p:spPr>
        <p:txBody>
          <a:bodyPr wrap="square" lIns="0" tIns="0" rIns="0" bIns="0" rtlCol="0" anchor="b" anchorCtr="0">
            <a:noAutofit/>
          </a:bodyPr>
          <a:lstStyle/>
          <a:p>
            <a:r>
              <a:rPr lang="en-GB" sz="794" noProof="1"/>
              <a:t>0.1 Introduction: why are we here?</a:t>
            </a:r>
          </a:p>
        </p:txBody>
      </p:sp>
      <p:sp>
        <p:nvSpPr>
          <p:cNvPr id="56" name="Page Number"/>
          <p:cNvSpPr txBox="1"/>
          <p:nvPr>
            <p:custDataLst>
              <p:tags r:id="rId5"/>
            </p:custDataLst>
          </p:nvPr>
        </p:nvSpPr>
        <p:spPr>
          <a:xfrm>
            <a:off x="11151579" y="6308261"/>
            <a:ext cx="387927" cy="122205"/>
          </a:xfrm>
          <a:prstGeom prst="rect">
            <a:avLst/>
          </a:prstGeom>
          <a:noFill/>
          <a:ln>
            <a:noFill/>
          </a:ln>
        </p:spPr>
        <p:txBody>
          <a:bodyPr wrap="square" lIns="0" tIns="0" rIns="0" bIns="0" rtlCol="0">
            <a:noAutofit/>
          </a:bodyPr>
          <a:lstStyle/>
          <a:p>
            <a:pPr algn="r"/>
            <a:r>
              <a:rPr lang="en-GB" sz="794">
                <a:cs typeface="Arial" pitchFamily="34" charset="0"/>
              </a:rPr>
              <a:t>6</a:t>
            </a:r>
            <a:endParaRPr lang="en-GB" sz="794" dirty="0">
              <a:cs typeface="Arial" pitchFamily="34" charset="0"/>
            </a:endParaRPr>
          </a:p>
        </p:txBody>
      </p:sp>
      <p:sp>
        <p:nvSpPr>
          <p:cNvPr id="57" name="Section Footer"/>
          <p:cNvSpPr txBox="1"/>
          <p:nvPr>
            <p:custDataLst>
              <p:tags r:id="rId6"/>
            </p:custDataLst>
          </p:nvPr>
        </p:nvSpPr>
        <p:spPr>
          <a:xfrm>
            <a:off x="589520" y="6308253"/>
            <a:ext cx="2557631" cy="122213"/>
          </a:xfrm>
          <a:prstGeom prst="rect">
            <a:avLst/>
          </a:prstGeom>
          <a:noFill/>
          <a:ln>
            <a:noFill/>
          </a:ln>
        </p:spPr>
        <p:txBody>
          <a:bodyPr wrap="square" lIns="0" tIns="0" rIns="0" bIns="0" rtlCol="0" anchor="b" anchorCtr="0">
            <a:spAutoFit/>
          </a:bodyPr>
          <a:lstStyle/>
          <a:p>
            <a:r>
              <a:rPr lang="en-GB" sz="794" noProof="1"/>
              <a:t>Sports industry: lost in transition?</a:t>
            </a:r>
          </a:p>
        </p:txBody>
      </p:sp>
      <p:sp>
        <p:nvSpPr>
          <p:cNvPr id="101" name="TextBox 100"/>
          <p:cNvSpPr txBox="1"/>
          <p:nvPr/>
        </p:nvSpPr>
        <p:spPr>
          <a:xfrm>
            <a:off x="2875837" y="1803581"/>
            <a:ext cx="1661243" cy="133027"/>
          </a:xfrm>
          <a:prstGeom prst="rect">
            <a:avLst/>
          </a:prstGeom>
          <a:noFill/>
        </p:spPr>
        <p:txBody>
          <a:bodyPr wrap="square" lIns="0" tIns="0" rIns="0" bIns="0" rtlCol="0">
            <a:noAutofit/>
          </a:bodyPr>
          <a:lstStyle/>
          <a:p>
            <a:pPr indent="-242060" algn="ctr" defTabSz="806867">
              <a:spcAft>
                <a:spcPts val="794"/>
              </a:spcAft>
            </a:pPr>
            <a:r>
              <a:rPr lang="en-GB" sz="1412" b="1" dirty="0">
                <a:solidFill>
                  <a:schemeClr val="accent4"/>
                </a:solidFill>
                <a:latin typeface="Georgia" pitchFamily="18" charset="0"/>
              </a:rPr>
              <a:t>Sponsorship &amp; advertising</a:t>
            </a:r>
          </a:p>
        </p:txBody>
      </p:sp>
      <p:sp>
        <p:nvSpPr>
          <p:cNvPr id="116" name="TextBox 115"/>
          <p:cNvSpPr txBox="1"/>
          <p:nvPr/>
        </p:nvSpPr>
        <p:spPr>
          <a:xfrm>
            <a:off x="4820300" y="1803581"/>
            <a:ext cx="1661243" cy="133027"/>
          </a:xfrm>
          <a:prstGeom prst="rect">
            <a:avLst/>
          </a:prstGeom>
          <a:noFill/>
        </p:spPr>
        <p:txBody>
          <a:bodyPr wrap="square" lIns="0" tIns="0" rIns="0" bIns="0" rtlCol="0">
            <a:noAutofit/>
          </a:bodyPr>
          <a:lstStyle/>
          <a:p>
            <a:pPr indent="-242060" algn="ctr" defTabSz="806867">
              <a:spcAft>
                <a:spcPts val="794"/>
              </a:spcAft>
            </a:pPr>
            <a:r>
              <a:rPr lang="en-GB" sz="1412" b="1" dirty="0">
                <a:solidFill>
                  <a:schemeClr val="accent2"/>
                </a:solidFill>
                <a:latin typeface="Georgia" pitchFamily="18" charset="0"/>
              </a:rPr>
              <a:t>Licensing &amp; merchandising</a:t>
            </a:r>
          </a:p>
        </p:txBody>
      </p:sp>
      <p:sp>
        <p:nvSpPr>
          <p:cNvPr id="143" name="TextBox 142"/>
          <p:cNvSpPr txBox="1"/>
          <p:nvPr/>
        </p:nvSpPr>
        <p:spPr>
          <a:xfrm>
            <a:off x="6764763" y="1803581"/>
            <a:ext cx="1372928" cy="133027"/>
          </a:xfrm>
          <a:prstGeom prst="rect">
            <a:avLst/>
          </a:prstGeom>
          <a:noFill/>
        </p:spPr>
        <p:txBody>
          <a:bodyPr wrap="square" lIns="0" tIns="0" rIns="0" bIns="0" rtlCol="0">
            <a:noAutofit/>
          </a:bodyPr>
          <a:lstStyle/>
          <a:p>
            <a:pPr indent="-242060" algn="ctr" defTabSz="806867">
              <a:spcAft>
                <a:spcPts val="794"/>
              </a:spcAft>
            </a:pPr>
            <a:r>
              <a:rPr lang="en-GB" sz="1412" b="1" dirty="0">
                <a:solidFill>
                  <a:srgbClr val="DB536A"/>
                </a:solidFill>
                <a:latin typeface="Georgia" pitchFamily="18" charset="0"/>
              </a:rPr>
              <a:t>Participation fees</a:t>
            </a:r>
          </a:p>
        </p:txBody>
      </p:sp>
      <p:sp>
        <p:nvSpPr>
          <p:cNvPr id="152" name="TextBox 151"/>
          <p:cNvSpPr txBox="1"/>
          <p:nvPr/>
        </p:nvSpPr>
        <p:spPr>
          <a:xfrm>
            <a:off x="8420910" y="1803581"/>
            <a:ext cx="1372928" cy="133027"/>
          </a:xfrm>
          <a:prstGeom prst="rect">
            <a:avLst/>
          </a:prstGeom>
          <a:noFill/>
        </p:spPr>
        <p:txBody>
          <a:bodyPr wrap="square" lIns="0" tIns="0" rIns="0" bIns="0" rtlCol="0">
            <a:noAutofit/>
          </a:bodyPr>
          <a:lstStyle/>
          <a:p>
            <a:pPr indent="-242060" algn="ctr" defTabSz="806867">
              <a:spcAft>
                <a:spcPts val="794"/>
              </a:spcAft>
            </a:pPr>
            <a:r>
              <a:rPr lang="en-GB" sz="1412" b="1" dirty="0">
                <a:solidFill>
                  <a:schemeClr val="accent5"/>
                </a:solidFill>
                <a:latin typeface="Georgia" pitchFamily="18" charset="0"/>
              </a:rPr>
              <a:t>Ticketing &amp; hospitality</a:t>
            </a:r>
          </a:p>
        </p:txBody>
      </p:sp>
      <p:sp>
        <p:nvSpPr>
          <p:cNvPr id="173" name="TextBox 172"/>
          <p:cNvSpPr txBox="1"/>
          <p:nvPr/>
        </p:nvSpPr>
        <p:spPr>
          <a:xfrm>
            <a:off x="10077059" y="1803581"/>
            <a:ext cx="1372928" cy="133027"/>
          </a:xfrm>
          <a:prstGeom prst="rect">
            <a:avLst/>
          </a:prstGeom>
          <a:noFill/>
        </p:spPr>
        <p:txBody>
          <a:bodyPr wrap="square" lIns="0" tIns="0" rIns="0" bIns="0" rtlCol="0">
            <a:noAutofit/>
          </a:bodyPr>
          <a:lstStyle/>
          <a:p>
            <a:pPr indent="-242060" algn="ctr" defTabSz="806867">
              <a:spcAft>
                <a:spcPts val="794"/>
              </a:spcAft>
            </a:pPr>
            <a:r>
              <a:rPr lang="en-GB" sz="1412" b="1" dirty="0">
                <a:solidFill>
                  <a:srgbClr val="A32020"/>
                </a:solidFill>
                <a:latin typeface="Georgia" pitchFamily="18" charset="0"/>
              </a:rPr>
              <a:t>Traditional TV rights</a:t>
            </a:r>
          </a:p>
        </p:txBody>
      </p:sp>
      <p:sp>
        <p:nvSpPr>
          <p:cNvPr id="102" name="TextBox 101"/>
          <p:cNvSpPr txBox="1"/>
          <p:nvPr/>
        </p:nvSpPr>
        <p:spPr>
          <a:xfrm>
            <a:off x="1219690" y="1803581"/>
            <a:ext cx="1372928" cy="129281"/>
          </a:xfrm>
          <a:prstGeom prst="rect">
            <a:avLst/>
          </a:prstGeom>
          <a:noFill/>
        </p:spPr>
        <p:txBody>
          <a:bodyPr wrap="square" lIns="0" tIns="0" rIns="0" bIns="0" rtlCol="0">
            <a:noAutofit/>
          </a:bodyPr>
          <a:lstStyle/>
          <a:p>
            <a:pPr indent="-242060" algn="ctr" defTabSz="806867">
              <a:spcAft>
                <a:spcPts val="794"/>
              </a:spcAft>
            </a:pPr>
            <a:r>
              <a:rPr lang="en-GB" sz="1412" b="1" dirty="0">
                <a:solidFill>
                  <a:srgbClr val="E0301E"/>
                </a:solidFill>
                <a:latin typeface="Georgia" pitchFamily="18" charset="0"/>
              </a:rPr>
              <a:t>Digital media rights</a:t>
            </a:r>
          </a:p>
        </p:txBody>
      </p:sp>
      <p:grpSp>
        <p:nvGrpSpPr>
          <p:cNvPr id="58" name="Group 57"/>
          <p:cNvGrpSpPr/>
          <p:nvPr/>
        </p:nvGrpSpPr>
        <p:grpSpPr>
          <a:xfrm>
            <a:off x="446473" y="2416166"/>
            <a:ext cx="11113217" cy="3727321"/>
            <a:chOff x="-106594" y="2293771"/>
            <a:chExt cx="13185492" cy="4668848"/>
          </a:xfrm>
        </p:grpSpPr>
        <p:sp>
          <p:nvSpPr>
            <p:cNvPr id="2" name="Rectangle 1"/>
            <p:cNvSpPr/>
            <p:nvPr/>
          </p:nvSpPr>
          <p:spPr>
            <a:xfrm>
              <a:off x="386501" y="6419772"/>
              <a:ext cx="12689912" cy="542847"/>
            </a:xfrm>
            <a:prstGeom prst="rect">
              <a:avLst/>
            </a:prstGeom>
            <a:solidFill>
              <a:schemeClr val="accent2">
                <a:lumMod val="20000"/>
                <a:lumOff val="80000"/>
                <a:alpha val="52000"/>
              </a:schemeClr>
            </a:solidFill>
            <a:ln w="6350">
              <a:noFill/>
            </a:ln>
          </p:spPr>
          <p:txBody>
            <a:bodyPr vert="horz" wrap="square" lIns="80682" tIns="40341" rIns="80682" bIns="40341" rtlCol="0" anchor="ctr">
              <a:noAutofit/>
            </a:bodyPr>
            <a:lstStyle/>
            <a:p>
              <a:pPr algn="ctr"/>
              <a:endParaRPr lang="en-GB" sz="1588" dirty="0"/>
            </a:p>
          </p:txBody>
        </p:sp>
        <p:cxnSp>
          <p:nvCxnSpPr>
            <p:cNvPr id="190" name="Straight Connector 189"/>
            <p:cNvCxnSpPr/>
            <p:nvPr/>
          </p:nvCxnSpPr>
          <p:spPr>
            <a:xfrm>
              <a:off x="8204331" y="5074931"/>
              <a:ext cx="0" cy="1334757"/>
            </a:xfrm>
            <a:prstGeom prst="line">
              <a:avLst/>
            </a:prstGeom>
            <a:ln w="12700" cap="flat" cmpd="sng" algn="ctr">
              <a:solidFill>
                <a:srgbClr val="DB536A"/>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9" name="Straight Connector 188"/>
            <p:cNvCxnSpPr/>
            <p:nvPr/>
          </p:nvCxnSpPr>
          <p:spPr>
            <a:xfrm>
              <a:off x="6068324" y="5074931"/>
              <a:ext cx="0" cy="1334757"/>
            </a:xfrm>
            <a:prstGeom prst="line">
              <a:avLst/>
            </a:prstGeom>
            <a:ln w="12700"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0" name="Straight Connector 89"/>
            <p:cNvCxnSpPr/>
            <p:nvPr/>
          </p:nvCxnSpPr>
          <p:spPr>
            <a:xfrm>
              <a:off x="386501" y="6409688"/>
              <a:ext cx="12692397" cy="0"/>
            </a:xfrm>
            <a:prstGeom prst="line">
              <a:avLst/>
            </a:prstGeom>
            <a:noFill/>
            <a:ln w="19050" cap="flat" cmpd="sng" algn="ctr">
              <a:solidFill>
                <a:schemeClr val="tx1">
                  <a:lumMod val="50000"/>
                  <a:lumOff val="50000"/>
                </a:schemeClr>
              </a:solidFill>
              <a:prstDash val="dash"/>
            </a:ln>
            <a:effectLst/>
          </p:spPr>
        </p:cxnSp>
        <p:cxnSp>
          <p:nvCxnSpPr>
            <p:cNvPr id="181" name="Straight Connector 180"/>
            <p:cNvCxnSpPr/>
            <p:nvPr/>
          </p:nvCxnSpPr>
          <p:spPr>
            <a:xfrm>
              <a:off x="3761278" y="5074931"/>
              <a:ext cx="0" cy="1334757"/>
            </a:xfrm>
            <a:prstGeom prst="line">
              <a:avLst/>
            </a:prstGeom>
            <a:ln w="12700"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6" name="Up-Down Arrow 175"/>
            <p:cNvSpPr/>
            <p:nvPr/>
          </p:nvSpPr>
          <p:spPr bwMode="ltGray">
            <a:xfrm>
              <a:off x="7677087" y="3834678"/>
              <a:ext cx="1054488" cy="2509191"/>
            </a:xfrm>
            <a:prstGeom prst="upDownArrow">
              <a:avLst>
                <a:gd name="adj1" fmla="val 100000"/>
                <a:gd name="adj2" fmla="val 50000"/>
              </a:avLst>
            </a:prstGeom>
            <a:solidFill>
              <a:srgbClr val="DB536A"/>
            </a:solidFill>
            <a:ln w="3175" cap="flat" cmpd="sng" algn="ctr">
              <a:noFill/>
              <a:prstDash val="solid"/>
            </a:ln>
            <a:effectLst/>
          </p:spPr>
          <p:txBody>
            <a:bodyPr rtlCol="0" anchor="ctr">
              <a:noAutofit/>
            </a:bodyPr>
            <a:lstStyle/>
            <a:p>
              <a:pPr algn="ctr" defTabSz="806867"/>
              <a:endParaRPr lang="en-GB" sz="1059" b="1" kern="0" dirty="0">
                <a:solidFill>
                  <a:srgbClr val="FFFFFF"/>
                </a:solidFill>
                <a:latin typeface="Georgia"/>
              </a:endParaRPr>
            </a:p>
          </p:txBody>
        </p:sp>
        <p:sp>
          <p:nvSpPr>
            <p:cNvPr id="97" name="Up-Down Arrow 96"/>
            <p:cNvSpPr/>
            <p:nvPr/>
          </p:nvSpPr>
          <p:spPr bwMode="ltGray">
            <a:xfrm>
              <a:off x="3234034" y="3275367"/>
              <a:ext cx="1054488" cy="3011352"/>
            </a:xfrm>
            <a:prstGeom prst="upDownArrow">
              <a:avLst>
                <a:gd name="adj1" fmla="val 100000"/>
                <a:gd name="adj2" fmla="val 50000"/>
              </a:avLst>
            </a:prstGeom>
            <a:solidFill>
              <a:schemeClr val="accent4"/>
            </a:solidFill>
            <a:ln w="3175" cap="flat" cmpd="sng" algn="ctr">
              <a:noFill/>
              <a:prstDash val="solid"/>
            </a:ln>
            <a:effectLst/>
          </p:spPr>
          <p:txBody>
            <a:bodyPr rtlCol="0" anchor="ctr"/>
            <a:lstStyle/>
            <a:p>
              <a:pPr algn="ctr" defTabSz="806867">
                <a:defRPr/>
              </a:pPr>
              <a:endParaRPr lang="en-GB" sz="1412" kern="0" dirty="0">
                <a:solidFill>
                  <a:srgbClr val="FFFFFF"/>
                </a:solidFill>
                <a:latin typeface="Georgia" pitchFamily="18" charset="0"/>
              </a:endParaRPr>
            </a:p>
          </p:txBody>
        </p:sp>
        <p:sp>
          <p:nvSpPr>
            <p:cNvPr id="98" name="Oval 97"/>
            <p:cNvSpPr/>
            <p:nvPr/>
          </p:nvSpPr>
          <p:spPr bwMode="ltGray">
            <a:xfrm>
              <a:off x="3175960" y="4307171"/>
              <a:ext cx="1170637" cy="947744"/>
            </a:xfrm>
            <a:prstGeom prst="ellipse">
              <a:avLst/>
            </a:prstGeom>
            <a:solidFill>
              <a:srgbClr val="FFFFFF"/>
            </a:solidFill>
            <a:ln w="3175" cap="flat" cmpd="sng" algn="ctr">
              <a:solidFill>
                <a:srgbClr val="FFFFFF">
                  <a:lumMod val="6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06867">
                <a:defRPr/>
              </a:pPr>
              <a:r>
                <a:rPr lang="en-GB" sz="1765" b="1" kern="0" dirty="0">
                  <a:solidFill>
                    <a:schemeClr val="accent4"/>
                  </a:solidFill>
                  <a:latin typeface="Georgia" pitchFamily="18" charset="0"/>
                </a:rPr>
                <a:t>5.5%</a:t>
              </a:r>
            </a:p>
          </p:txBody>
        </p:sp>
        <p:sp>
          <p:nvSpPr>
            <p:cNvPr id="99" name="TextBox 98"/>
            <p:cNvSpPr txBox="1"/>
            <p:nvPr/>
          </p:nvSpPr>
          <p:spPr>
            <a:xfrm>
              <a:off x="3436807" y="3531840"/>
              <a:ext cx="648942" cy="200957"/>
            </a:xfrm>
            <a:prstGeom prst="rect">
              <a:avLst/>
            </a:prstGeom>
            <a:noFill/>
          </p:spPr>
          <p:txBody>
            <a:bodyPr wrap="square" lIns="0" tIns="0" rIns="0" bIns="0" rtlCol="0">
              <a:noAutofit/>
            </a:bodyPr>
            <a:lstStyle/>
            <a:p>
              <a:pPr indent="-242060" algn="ctr" defTabSz="806867">
                <a:spcAft>
                  <a:spcPts val="794"/>
                </a:spcAft>
                <a:defRPr/>
              </a:pPr>
              <a:r>
                <a:rPr lang="en-GB" sz="1412" kern="0" dirty="0">
                  <a:solidFill>
                    <a:srgbClr val="FFFFFF"/>
                  </a:solidFill>
                  <a:latin typeface="Georgia" pitchFamily="18" charset="0"/>
                </a:rPr>
                <a:t>10.1%</a:t>
              </a:r>
            </a:p>
          </p:txBody>
        </p:sp>
        <p:sp>
          <p:nvSpPr>
            <p:cNvPr id="100" name="TextBox 99"/>
            <p:cNvSpPr txBox="1"/>
            <p:nvPr/>
          </p:nvSpPr>
          <p:spPr>
            <a:xfrm>
              <a:off x="3436807" y="5773534"/>
              <a:ext cx="648942" cy="200957"/>
            </a:xfrm>
            <a:prstGeom prst="rect">
              <a:avLst/>
            </a:prstGeom>
            <a:noFill/>
          </p:spPr>
          <p:txBody>
            <a:bodyPr wrap="square" lIns="0" tIns="0" rIns="0" bIns="0" rtlCol="0">
              <a:noAutofit/>
            </a:bodyPr>
            <a:lstStyle/>
            <a:p>
              <a:pPr indent="-242060" algn="ctr" defTabSz="806867">
                <a:spcAft>
                  <a:spcPts val="794"/>
                </a:spcAft>
                <a:defRPr/>
              </a:pPr>
              <a:r>
                <a:rPr lang="en-GB" sz="1412" kern="0" dirty="0">
                  <a:solidFill>
                    <a:srgbClr val="FFFFFF"/>
                  </a:solidFill>
                  <a:latin typeface="Georgia" pitchFamily="18" charset="0"/>
                </a:rPr>
                <a:t>0.9%</a:t>
              </a:r>
            </a:p>
          </p:txBody>
        </p:sp>
        <p:sp>
          <p:nvSpPr>
            <p:cNvPr id="119" name="Up-Down Arrow 118"/>
            <p:cNvSpPr/>
            <p:nvPr/>
          </p:nvSpPr>
          <p:spPr bwMode="ltGray">
            <a:xfrm>
              <a:off x="5541080" y="3742580"/>
              <a:ext cx="1054488" cy="2544138"/>
            </a:xfrm>
            <a:prstGeom prst="upDownArrow">
              <a:avLst>
                <a:gd name="adj1" fmla="val 100000"/>
                <a:gd name="adj2" fmla="val 50000"/>
              </a:avLst>
            </a:prstGeom>
            <a:solidFill>
              <a:schemeClr val="accent2"/>
            </a:solidFill>
            <a:ln w="3175" cap="flat" cmpd="sng" algn="ctr">
              <a:noFill/>
              <a:prstDash val="solid"/>
            </a:ln>
            <a:effectLst/>
          </p:spPr>
          <p:txBody>
            <a:bodyPr rtlCol="0" anchor="ctr"/>
            <a:lstStyle/>
            <a:p>
              <a:pPr algn="ctr" defTabSz="806867">
                <a:defRPr/>
              </a:pPr>
              <a:endParaRPr lang="en-GB" sz="1412" kern="0" dirty="0">
                <a:solidFill>
                  <a:srgbClr val="FFFFFF"/>
                </a:solidFill>
                <a:latin typeface="Georgia" pitchFamily="18" charset="0"/>
              </a:endParaRPr>
            </a:p>
          </p:txBody>
        </p:sp>
        <p:sp>
          <p:nvSpPr>
            <p:cNvPr id="120" name="Oval 119"/>
            <p:cNvSpPr/>
            <p:nvPr/>
          </p:nvSpPr>
          <p:spPr bwMode="ltGray">
            <a:xfrm>
              <a:off x="5483006" y="4540776"/>
              <a:ext cx="1170637" cy="947744"/>
            </a:xfrm>
            <a:prstGeom prst="ellipse">
              <a:avLst/>
            </a:prstGeom>
            <a:solidFill>
              <a:srgbClr val="FFFFFF"/>
            </a:solidFill>
            <a:ln w="3175" cap="flat" cmpd="sng" algn="ctr">
              <a:solidFill>
                <a:srgbClr val="FFFFFF">
                  <a:lumMod val="6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06867">
                <a:defRPr/>
              </a:pPr>
              <a:r>
                <a:rPr lang="en-GB" sz="1765" b="1" kern="0" dirty="0">
                  <a:solidFill>
                    <a:schemeClr val="accent2"/>
                  </a:solidFill>
                  <a:latin typeface="Georgia" pitchFamily="18" charset="0"/>
                </a:rPr>
                <a:t>4.8%</a:t>
              </a:r>
            </a:p>
          </p:txBody>
        </p:sp>
        <p:sp>
          <p:nvSpPr>
            <p:cNvPr id="121" name="TextBox 120"/>
            <p:cNvSpPr txBox="1"/>
            <p:nvPr/>
          </p:nvSpPr>
          <p:spPr>
            <a:xfrm>
              <a:off x="5743853" y="3999053"/>
              <a:ext cx="648942" cy="200957"/>
            </a:xfrm>
            <a:prstGeom prst="rect">
              <a:avLst/>
            </a:prstGeom>
            <a:noFill/>
          </p:spPr>
          <p:txBody>
            <a:bodyPr wrap="square" lIns="0" tIns="0" rIns="0" bIns="0" rtlCol="0">
              <a:noAutofit/>
            </a:bodyPr>
            <a:lstStyle/>
            <a:p>
              <a:pPr indent="-242060" algn="ctr" defTabSz="806867">
                <a:spcAft>
                  <a:spcPts val="794"/>
                </a:spcAft>
                <a:defRPr/>
              </a:pPr>
              <a:r>
                <a:rPr lang="en-GB" sz="1412" kern="0" dirty="0">
                  <a:solidFill>
                    <a:srgbClr val="FFFFFF"/>
                  </a:solidFill>
                  <a:latin typeface="Georgia" pitchFamily="18" charset="0"/>
                </a:rPr>
                <a:t>8.8%</a:t>
              </a:r>
            </a:p>
          </p:txBody>
        </p:sp>
        <p:sp>
          <p:nvSpPr>
            <p:cNvPr id="122" name="TextBox 121"/>
            <p:cNvSpPr txBox="1"/>
            <p:nvPr/>
          </p:nvSpPr>
          <p:spPr>
            <a:xfrm>
              <a:off x="5743853" y="5773534"/>
              <a:ext cx="648942" cy="200957"/>
            </a:xfrm>
            <a:prstGeom prst="rect">
              <a:avLst/>
            </a:prstGeom>
            <a:noFill/>
          </p:spPr>
          <p:txBody>
            <a:bodyPr wrap="square" lIns="0" tIns="0" rIns="0" bIns="0" rtlCol="0">
              <a:noAutofit/>
            </a:bodyPr>
            <a:lstStyle/>
            <a:p>
              <a:pPr indent="-242060" algn="ctr" defTabSz="806867">
                <a:spcAft>
                  <a:spcPts val="794"/>
                </a:spcAft>
                <a:defRPr/>
              </a:pPr>
              <a:r>
                <a:rPr lang="en-GB" sz="1412" kern="0" dirty="0">
                  <a:solidFill>
                    <a:srgbClr val="FFFFFF"/>
                  </a:solidFill>
                  <a:latin typeface="Georgia" pitchFamily="18" charset="0"/>
                </a:rPr>
                <a:t>0.9%</a:t>
              </a:r>
            </a:p>
          </p:txBody>
        </p:sp>
        <p:sp>
          <p:nvSpPr>
            <p:cNvPr id="147" name="Oval 146"/>
            <p:cNvSpPr/>
            <p:nvPr/>
          </p:nvSpPr>
          <p:spPr bwMode="ltGray">
            <a:xfrm>
              <a:off x="7619013" y="4615402"/>
              <a:ext cx="1170637" cy="947744"/>
            </a:xfrm>
            <a:prstGeom prst="ellipse">
              <a:avLst/>
            </a:prstGeom>
            <a:solidFill>
              <a:srgbClr val="FFFFFF"/>
            </a:solidFill>
            <a:ln w="3175" cap="flat" cmpd="sng" algn="ctr">
              <a:solidFill>
                <a:srgbClr val="FFFFFF">
                  <a:lumMod val="6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06867"/>
              <a:r>
                <a:rPr lang="en-GB" sz="1765" b="1" kern="0" dirty="0">
                  <a:solidFill>
                    <a:srgbClr val="DB536A"/>
                  </a:solidFill>
                  <a:latin typeface="Georgia" pitchFamily="18" charset="0"/>
                </a:rPr>
                <a:t>4.4%</a:t>
              </a:r>
            </a:p>
          </p:txBody>
        </p:sp>
        <p:sp>
          <p:nvSpPr>
            <p:cNvPr id="148" name="TextBox 147"/>
            <p:cNvSpPr txBox="1"/>
            <p:nvPr/>
          </p:nvSpPr>
          <p:spPr>
            <a:xfrm>
              <a:off x="7879860" y="4091151"/>
              <a:ext cx="648942" cy="200957"/>
            </a:xfrm>
            <a:prstGeom prst="rect">
              <a:avLst/>
            </a:prstGeom>
            <a:noFill/>
          </p:spPr>
          <p:txBody>
            <a:bodyPr wrap="square" lIns="0" tIns="0" rIns="0" bIns="0" rtlCol="0">
              <a:noAutofit/>
            </a:bodyPr>
            <a:lstStyle/>
            <a:p>
              <a:pPr indent="-242060" algn="ctr" defTabSz="806867">
                <a:spcAft>
                  <a:spcPts val="794"/>
                </a:spcAft>
                <a:defRPr/>
              </a:pPr>
              <a:r>
                <a:rPr lang="en-GB" sz="1412" kern="0" dirty="0">
                  <a:solidFill>
                    <a:srgbClr val="FFFFFF"/>
                  </a:solidFill>
                  <a:latin typeface="Georgia" pitchFamily="18" charset="0"/>
                </a:rPr>
                <a:t>8.5%</a:t>
              </a:r>
            </a:p>
          </p:txBody>
        </p:sp>
        <p:sp>
          <p:nvSpPr>
            <p:cNvPr id="149" name="TextBox 148"/>
            <p:cNvSpPr txBox="1"/>
            <p:nvPr/>
          </p:nvSpPr>
          <p:spPr>
            <a:xfrm>
              <a:off x="7879860" y="5830684"/>
              <a:ext cx="648942" cy="200957"/>
            </a:xfrm>
            <a:prstGeom prst="rect">
              <a:avLst/>
            </a:prstGeom>
            <a:noFill/>
          </p:spPr>
          <p:txBody>
            <a:bodyPr wrap="square" lIns="0" tIns="0" rIns="0" bIns="0" rtlCol="0">
              <a:noAutofit/>
            </a:bodyPr>
            <a:lstStyle/>
            <a:p>
              <a:pPr indent="-242060" algn="ctr" defTabSz="806867">
                <a:spcAft>
                  <a:spcPts val="794"/>
                </a:spcAft>
                <a:defRPr/>
              </a:pPr>
              <a:r>
                <a:rPr lang="en-GB" sz="1412" kern="0" dirty="0">
                  <a:solidFill>
                    <a:srgbClr val="FFFFFF"/>
                  </a:solidFill>
                  <a:latin typeface="Georgia" pitchFamily="18" charset="0"/>
                </a:rPr>
                <a:t>0.3%</a:t>
              </a:r>
            </a:p>
          </p:txBody>
        </p:sp>
        <p:sp>
          <p:nvSpPr>
            <p:cNvPr id="155" name="Up-Down Arrow 154"/>
            <p:cNvSpPr/>
            <p:nvPr/>
          </p:nvSpPr>
          <p:spPr bwMode="ltGray">
            <a:xfrm>
              <a:off x="9642056" y="3975570"/>
              <a:ext cx="1054488" cy="2463548"/>
            </a:xfrm>
            <a:prstGeom prst="upDownArrow">
              <a:avLst>
                <a:gd name="adj1" fmla="val 100000"/>
                <a:gd name="adj2" fmla="val 50000"/>
              </a:avLst>
            </a:prstGeom>
            <a:solidFill>
              <a:schemeClr val="accent5"/>
            </a:solidFill>
            <a:ln w="3175" cap="flat" cmpd="sng" algn="ctr">
              <a:noFill/>
              <a:prstDash val="solid"/>
            </a:ln>
            <a:effectLst/>
          </p:spPr>
          <p:txBody>
            <a:bodyPr rtlCol="0" anchor="ctr"/>
            <a:lstStyle/>
            <a:p>
              <a:pPr algn="ctr" defTabSz="806867">
                <a:defRPr/>
              </a:pPr>
              <a:endParaRPr lang="en-GB" sz="1412" kern="0" dirty="0">
                <a:solidFill>
                  <a:srgbClr val="FFFFFF"/>
                </a:solidFill>
                <a:latin typeface="Georgia" pitchFamily="18" charset="0"/>
              </a:endParaRPr>
            </a:p>
          </p:txBody>
        </p:sp>
        <p:sp>
          <p:nvSpPr>
            <p:cNvPr id="156" name="Oval 155"/>
            <p:cNvSpPr/>
            <p:nvPr/>
          </p:nvSpPr>
          <p:spPr bwMode="ltGray">
            <a:xfrm>
              <a:off x="9583982" y="4733472"/>
              <a:ext cx="1170637" cy="947744"/>
            </a:xfrm>
            <a:prstGeom prst="ellipse">
              <a:avLst/>
            </a:prstGeom>
            <a:solidFill>
              <a:srgbClr val="FFFFFF"/>
            </a:solidFill>
            <a:ln w="3175" cap="flat" cmpd="sng" algn="ctr">
              <a:solidFill>
                <a:srgbClr val="FFFFFF">
                  <a:lumMod val="6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06867">
                <a:defRPr/>
              </a:pPr>
              <a:r>
                <a:rPr lang="en-GB" sz="1765" b="1" kern="0" dirty="0">
                  <a:solidFill>
                    <a:schemeClr val="accent5"/>
                  </a:solidFill>
                  <a:latin typeface="Georgia" pitchFamily="18" charset="0"/>
                </a:rPr>
                <a:t>3.8%</a:t>
              </a:r>
            </a:p>
          </p:txBody>
        </p:sp>
        <p:sp>
          <p:nvSpPr>
            <p:cNvPr id="157" name="TextBox 156"/>
            <p:cNvSpPr txBox="1"/>
            <p:nvPr/>
          </p:nvSpPr>
          <p:spPr>
            <a:xfrm>
              <a:off x="9844829" y="4232043"/>
              <a:ext cx="648942" cy="200957"/>
            </a:xfrm>
            <a:prstGeom prst="rect">
              <a:avLst/>
            </a:prstGeom>
            <a:noFill/>
          </p:spPr>
          <p:txBody>
            <a:bodyPr wrap="square" lIns="0" tIns="0" rIns="0" bIns="0" rtlCol="0">
              <a:noAutofit/>
            </a:bodyPr>
            <a:lstStyle/>
            <a:p>
              <a:pPr indent="-242060" algn="ctr" defTabSz="806867">
                <a:spcAft>
                  <a:spcPts val="794"/>
                </a:spcAft>
                <a:defRPr/>
              </a:pPr>
              <a:r>
                <a:rPr lang="en-GB" sz="1412" kern="0" dirty="0">
                  <a:solidFill>
                    <a:srgbClr val="FFFFFF"/>
                  </a:solidFill>
                  <a:latin typeface="Georgia" pitchFamily="18" charset="0"/>
                </a:rPr>
                <a:t>7.8%</a:t>
              </a:r>
            </a:p>
          </p:txBody>
        </p:sp>
        <p:sp>
          <p:nvSpPr>
            <p:cNvPr id="158" name="TextBox 157"/>
            <p:cNvSpPr txBox="1"/>
            <p:nvPr/>
          </p:nvSpPr>
          <p:spPr>
            <a:xfrm>
              <a:off x="9844829" y="5925933"/>
              <a:ext cx="648942" cy="200957"/>
            </a:xfrm>
            <a:prstGeom prst="rect">
              <a:avLst/>
            </a:prstGeom>
            <a:noFill/>
          </p:spPr>
          <p:txBody>
            <a:bodyPr wrap="square" lIns="0" tIns="0" rIns="0" bIns="0" rtlCol="0">
              <a:noAutofit/>
            </a:bodyPr>
            <a:lstStyle/>
            <a:p>
              <a:pPr indent="-242060" algn="ctr" defTabSz="806867">
                <a:spcAft>
                  <a:spcPts val="794"/>
                </a:spcAft>
                <a:defRPr/>
              </a:pPr>
              <a:r>
                <a:rPr lang="en-GB" sz="1412" kern="0" dirty="0">
                  <a:solidFill>
                    <a:srgbClr val="FFFFFF"/>
                  </a:solidFill>
                  <a:latin typeface="Georgia" pitchFamily="18" charset="0"/>
                </a:rPr>
                <a:t>-0.1%</a:t>
              </a:r>
            </a:p>
          </p:txBody>
        </p:sp>
        <p:sp>
          <p:nvSpPr>
            <p:cNvPr id="164" name="Up-Down Arrow 163"/>
            <p:cNvSpPr/>
            <p:nvPr/>
          </p:nvSpPr>
          <p:spPr bwMode="ltGray">
            <a:xfrm>
              <a:off x="11607025" y="3581400"/>
              <a:ext cx="1054488" cy="3202940"/>
            </a:xfrm>
            <a:prstGeom prst="upDownArrow">
              <a:avLst>
                <a:gd name="adj1" fmla="val 100000"/>
                <a:gd name="adj2" fmla="val 50000"/>
              </a:avLst>
            </a:prstGeom>
            <a:solidFill>
              <a:srgbClr val="A32020"/>
            </a:solidFill>
            <a:ln w="3175" cap="flat" cmpd="sng" algn="ctr">
              <a:noFill/>
              <a:prstDash val="solid"/>
            </a:ln>
            <a:effectLst/>
          </p:spPr>
          <p:txBody>
            <a:bodyPr rtlCol="0" anchor="ctr"/>
            <a:lstStyle/>
            <a:p>
              <a:pPr algn="ctr" defTabSz="806867">
                <a:defRPr/>
              </a:pPr>
              <a:endParaRPr lang="en-GB" sz="1412" kern="0" dirty="0">
                <a:solidFill>
                  <a:srgbClr val="FFFFFF"/>
                </a:solidFill>
                <a:latin typeface="Georgia" pitchFamily="18" charset="0"/>
              </a:endParaRPr>
            </a:p>
          </p:txBody>
        </p:sp>
        <p:sp>
          <p:nvSpPr>
            <p:cNvPr id="165" name="Oval 164"/>
            <p:cNvSpPr/>
            <p:nvPr/>
          </p:nvSpPr>
          <p:spPr bwMode="ltGray">
            <a:xfrm>
              <a:off x="11548951" y="4843194"/>
              <a:ext cx="1170637" cy="947744"/>
            </a:xfrm>
            <a:prstGeom prst="ellipse">
              <a:avLst/>
            </a:prstGeom>
            <a:solidFill>
              <a:srgbClr val="FFFFFF"/>
            </a:solidFill>
            <a:ln w="3175" cap="flat" cmpd="sng" algn="ctr">
              <a:solidFill>
                <a:srgbClr val="FFFFFF">
                  <a:lumMod val="6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06867">
                <a:defRPr/>
              </a:pPr>
              <a:r>
                <a:rPr lang="en-GB" sz="1765" b="1" kern="0" dirty="0">
                  <a:solidFill>
                    <a:srgbClr val="A32020"/>
                  </a:solidFill>
                  <a:latin typeface="Georgia" pitchFamily="18" charset="0"/>
                </a:rPr>
                <a:t>3.2%</a:t>
              </a:r>
            </a:p>
          </p:txBody>
        </p:sp>
        <p:sp>
          <p:nvSpPr>
            <p:cNvPr id="166" name="TextBox 165"/>
            <p:cNvSpPr txBox="1"/>
            <p:nvPr/>
          </p:nvSpPr>
          <p:spPr>
            <a:xfrm>
              <a:off x="11809798" y="3837873"/>
              <a:ext cx="648942" cy="200957"/>
            </a:xfrm>
            <a:prstGeom prst="rect">
              <a:avLst/>
            </a:prstGeom>
            <a:noFill/>
          </p:spPr>
          <p:txBody>
            <a:bodyPr wrap="square" lIns="0" tIns="0" rIns="0" bIns="0" rtlCol="0">
              <a:noAutofit/>
            </a:bodyPr>
            <a:lstStyle/>
            <a:p>
              <a:pPr indent="-242060" algn="ctr" defTabSz="806867">
                <a:spcAft>
                  <a:spcPts val="794"/>
                </a:spcAft>
                <a:defRPr/>
              </a:pPr>
              <a:r>
                <a:rPr lang="en-GB" sz="1412" kern="0" dirty="0">
                  <a:solidFill>
                    <a:srgbClr val="FFFFFF"/>
                  </a:solidFill>
                  <a:latin typeface="Georgia" pitchFamily="18" charset="0"/>
                </a:rPr>
                <a:t>9.2%</a:t>
              </a:r>
            </a:p>
          </p:txBody>
        </p:sp>
        <p:sp>
          <p:nvSpPr>
            <p:cNvPr id="167" name="TextBox 166"/>
            <p:cNvSpPr txBox="1"/>
            <p:nvPr/>
          </p:nvSpPr>
          <p:spPr>
            <a:xfrm>
              <a:off x="11809798" y="6271155"/>
              <a:ext cx="648942" cy="200957"/>
            </a:xfrm>
            <a:prstGeom prst="rect">
              <a:avLst/>
            </a:prstGeom>
            <a:noFill/>
          </p:spPr>
          <p:txBody>
            <a:bodyPr wrap="square" lIns="0" tIns="0" rIns="0" bIns="0" rtlCol="0">
              <a:noAutofit/>
            </a:bodyPr>
            <a:lstStyle/>
            <a:p>
              <a:pPr indent="-242060" algn="ctr" defTabSz="806867">
                <a:spcAft>
                  <a:spcPts val="794"/>
                </a:spcAft>
                <a:defRPr/>
              </a:pPr>
              <a:r>
                <a:rPr lang="en-GB" sz="1412" kern="0" dirty="0">
                  <a:solidFill>
                    <a:srgbClr val="FFFFFF"/>
                  </a:solidFill>
                  <a:latin typeface="Georgia" pitchFamily="18" charset="0"/>
                </a:rPr>
                <a:t>-2.7%</a:t>
              </a:r>
            </a:p>
          </p:txBody>
        </p:sp>
        <p:sp>
          <p:nvSpPr>
            <p:cNvPr id="92" name="Up-Down Arrow 91"/>
            <p:cNvSpPr/>
            <p:nvPr/>
          </p:nvSpPr>
          <p:spPr bwMode="ltGray">
            <a:xfrm>
              <a:off x="1098026" y="2293771"/>
              <a:ext cx="1054488" cy="2828824"/>
            </a:xfrm>
            <a:prstGeom prst="upDownArrow">
              <a:avLst>
                <a:gd name="adj1" fmla="val 100000"/>
                <a:gd name="adj2" fmla="val 50000"/>
              </a:avLst>
            </a:prstGeom>
            <a:solidFill>
              <a:srgbClr val="E0301E"/>
            </a:solidFill>
            <a:ln w="3175" cap="flat" cmpd="sng" algn="ctr">
              <a:noFill/>
              <a:prstDash val="solid"/>
            </a:ln>
            <a:effectLst/>
          </p:spPr>
          <p:txBody>
            <a:bodyPr rtlCol="0" anchor="ctr"/>
            <a:lstStyle/>
            <a:p>
              <a:pPr algn="ctr" defTabSz="806867">
                <a:defRPr/>
              </a:pPr>
              <a:endParaRPr lang="en-GB" sz="1412" kern="0" dirty="0">
                <a:solidFill>
                  <a:srgbClr val="FFFFFF"/>
                </a:solidFill>
                <a:latin typeface="Georgia" pitchFamily="18" charset="0"/>
              </a:endParaRPr>
            </a:p>
          </p:txBody>
        </p:sp>
        <p:sp>
          <p:nvSpPr>
            <p:cNvPr id="93" name="Oval 92"/>
            <p:cNvSpPr/>
            <p:nvPr/>
          </p:nvSpPr>
          <p:spPr bwMode="ltGray">
            <a:xfrm>
              <a:off x="1039952" y="3247653"/>
              <a:ext cx="1170637" cy="921060"/>
            </a:xfrm>
            <a:prstGeom prst="ellipse">
              <a:avLst/>
            </a:prstGeom>
            <a:solidFill>
              <a:srgbClr val="FFFFFF"/>
            </a:solidFill>
            <a:ln w="3175" cap="flat" cmpd="sng" algn="ctr">
              <a:solidFill>
                <a:srgbClr val="FFFFFF">
                  <a:lumMod val="65000"/>
                </a:srgbClr>
              </a:solidFill>
              <a:prstDash val="solid"/>
            </a:ln>
            <a:effectLst/>
          </p:spPr>
          <p:txBody>
            <a:bodyPr lIns="0" tIns="0" rIns="0" bIns="0" rtlCol="0" anchor="ctr">
              <a:noAutofit/>
            </a:bodyPr>
            <a:lstStyle/>
            <a:p>
              <a:pPr algn="ctr" defTabSz="806867">
                <a:defRPr/>
              </a:pPr>
              <a:r>
                <a:rPr lang="en-GB" sz="1765" b="1" kern="0" dirty="0">
                  <a:solidFill>
                    <a:srgbClr val="E0301E"/>
                  </a:solidFill>
                  <a:latin typeface="Georgia" pitchFamily="18" charset="0"/>
                </a:rPr>
                <a:t>11.5%</a:t>
              </a:r>
            </a:p>
          </p:txBody>
        </p:sp>
        <p:sp>
          <p:nvSpPr>
            <p:cNvPr id="94" name="TextBox 93"/>
            <p:cNvSpPr txBox="1"/>
            <p:nvPr/>
          </p:nvSpPr>
          <p:spPr>
            <a:xfrm>
              <a:off x="1300799" y="2543023"/>
              <a:ext cx="648942" cy="195299"/>
            </a:xfrm>
            <a:prstGeom prst="rect">
              <a:avLst/>
            </a:prstGeom>
            <a:noFill/>
          </p:spPr>
          <p:txBody>
            <a:bodyPr wrap="square" lIns="0" tIns="0" rIns="0" bIns="0" rtlCol="0">
              <a:noAutofit/>
            </a:bodyPr>
            <a:lstStyle/>
            <a:p>
              <a:pPr indent="-242060" algn="ctr" defTabSz="806867">
                <a:spcAft>
                  <a:spcPts val="794"/>
                </a:spcAft>
                <a:defRPr/>
              </a:pPr>
              <a:r>
                <a:rPr lang="en-GB" sz="1412" kern="0" dirty="0">
                  <a:solidFill>
                    <a:srgbClr val="FFFFFF"/>
                  </a:solidFill>
                  <a:latin typeface="Georgia" pitchFamily="18" charset="0"/>
                </a:rPr>
                <a:t>16.6%</a:t>
              </a:r>
            </a:p>
          </p:txBody>
        </p:sp>
        <p:sp>
          <p:nvSpPr>
            <p:cNvPr id="95" name="TextBox 94"/>
            <p:cNvSpPr txBox="1"/>
            <p:nvPr/>
          </p:nvSpPr>
          <p:spPr>
            <a:xfrm>
              <a:off x="1300799" y="4623858"/>
              <a:ext cx="648942" cy="195299"/>
            </a:xfrm>
            <a:prstGeom prst="rect">
              <a:avLst/>
            </a:prstGeom>
            <a:noFill/>
          </p:spPr>
          <p:txBody>
            <a:bodyPr wrap="square" lIns="0" tIns="0" rIns="0" bIns="0" rtlCol="0">
              <a:noAutofit/>
            </a:bodyPr>
            <a:lstStyle/>
            <a:p>
              <a:pPr indent="-242060" algn="ctr" defTabSz="806867">
                <a:spcAft>
                  <a:spcPts val="794"/>
                </a:spcAft>
                <a:defRPr/>
              </a:pPr>
              <a:r>
                <a:rPr lang="en-GB" sz="1412" kern="0" dirty="0">
                  <a:solidFill>
                    <a:srgbClr val="FFFFFF"/>
                  </a:solidFill>
                  <a:latin typeface="Georgia" pitchFamily="18" charset="0"/>
                </a:rPr>
                <a:t>6.3%</a:t>
              </a:r>
            </a:p>
          </p:txBody>
        </p:sp>
        <p:cxnSp>
          <p:nvCxnSpPr>
            <p:cNvPr id="179" name="Straight Connector 178"/>
            <p:cNvCxnSpPr/>
            <p:nvPr/>
          </p:nvCxnSpPr>
          <p:spPr>
            <a:xfrm>
              <a:off x="1625270" y="5122595"/>
              <a:ext cx="0" cy="1297177"/>
            </a:xfrm>
            <a:prstGeom prst="line">
              <a:avLst/>
            </a:prstGeom>
            <a:ln w="12700"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91" name="TextBox 190"/>
            <p:cNvSpPr txBox="1"/>
            <p:nvPr/>
          </p:nvSpPr>
          <p:spPr>
            <a:xfrm>
              <a:off x="-106594" y="6292260"/>
              <a:ext cx="407010" cy="340223"/>
            </a:xfrm>
            <a:prstGeom prst="rect">
              <a:avLst/>
            </a:prstGeom>
            <a:noFill/>
            <a:ln>
              <a:noFill/>
            </a:ln>
          </p:spPr>
          <p:txBody>
            <a:bodyPr wrap="none" lIns="0" tIns="0" rIns="0" bIns="0" rtlCol="0">
              <a:spAutoFit/>
            </a:bodyPr>
            <a:lstStyle/>
            <a:p>
              <a:r>
                <a:rPr lang="en-GB" sz="1765" b="1" dirty="0">
                  <a:latin typeface="Georgia" pitchFamily="18" charset="0"/>
                  <a:cs typeface="Arial" pitchFamily="34" charset="0"/>
                </a:rPr>
                <a:t>o%</a:t>
              </a:r>
            </a:p>
          </p:txBody>
        </p:sp>
      </p:grpSp>
      <p:sp>
        <p:nvSpPr>
          <p:cNvPr id="109" name="Rectangle 108"/>
          <p:cNvSpPr/>
          <p:nvPr/>
        </p:nvSpPr>
        <p:spPr>
          <a:xfrm>
            <a:off x="503631" y="396674"/>
            <a:ext cx="2051310" cy="370329"/>
          </a:xfrm>
          <a:prstGeom prst="rect">
            <a:avLst/>
          </a:prstGeom>
          <a:solidFill>
            <a:schemeClr val="accent6"/>
          </a:solidFill>
          <a:ln w="6350">
            <a:noFill/>
          </a:ln>
        </p:spPr>
        <p:txBody>
          <a:bodyPr vert="horz" wrap="square" lIns="80682" tIns="40341" rIns="80682" bIns="40341" rtlCol="0" anchor="ctr">
            <a:noAutofit/>
          </a:bodyPr>
          <a:lstStyle/>
          <a:p>
            <a:pPr algn="ctr"/>
            <a:r>
              <a:rPr lang="en-GB" sz="1588" i="1" dirty="0">
                <a:solidFill>
                  <a:schemeClr val="bg2"/>
                </a:solidFill>
                <a:latin typeface="+mj-lt"/>
              </a:rPr>
              <a:t>Growth &amp; threats</a:t>
            </a:r>
          </a:p>
        </p:txBody>
      </p:sp>
      <p:sp>
        <p:nvSpPr>
          <p:cNvPr id="111" name="TextBox 110"/>
          <p:cNvSpPr txBox="1"/>
          <p:nvPr/>
        </p:nvSpPr>
        <p:spPr>
          <a:xfrm>
            <a:off x="207778" y="3994504"/>
            <a:ext cx="780056" cy="507054"/>
          </a:xfrm>
          <a:prstGeom prst="rect">
            <a:avLst/>
          </a:prstGeom>
          <a:noFill/>
        </p:spPr>
        <p:txBody>
          <a:bodyPr wrap="square" lIns="0" tIns="0" rIns="0" bIns="0" rtlCol="0">
            <a:noAutofit/>
          </a:bodyPr>
          <a:lstStyle/>
          <a:p>
            <a:pPr indent="-242060" algn="ctr">
              <a:spcAft>
                <a:spcPts val="794"/>
              </a:spcAft>
            </a:pPr>
            <a:r>
              <a:rPr lang="en-GB" sz="2118" b="1" dirty="0">
                <a:solidFill>
                  <a:schemeClr val="accent6">
                    <a:lumMod val="50000"/>
                  </a:schemeClr>
                </a:solidFill>
                <a:latin typeface="Georgia" pitchFamily="18" charset="0"/>
              </a:rPr>
              <a:t>7.0%</a:t>
            </a:r>
          </a:p>
        </p:txBody>
      </p:sp>
      <p:sp>
        <p:nvSpPr>
          <p:cNvPr id="112" name="TextBox 111"/>
          <p:cNvSpPr txBox="1"/>
          <p:nvPr/>
        </p:nvSpPr>
        <p:spPr>
          <a:xfrm>
            <a:off x="-46209" y="3730727"/>
            <a:ext cx="1259253" cy="230307"/>
          </a:xfrm>
          <a:prstGeom prst="rect">
            <a:avLst/>
          </a:prstGeom>
          <a:noFill/>
        </p:spPr>
        <p:txBody>
          <a:bodyPr wrap="none" lIns="0" tIns="0" rIns="0" bIns="0" rtlCol="0">
            <a:noAutofit/>
          </a:bodyPr>
          <a:lstStyle/>
          <a:p>
            <a:pPr indent="-181496" algn="ctr">
              <a:spcAft>
                <a:spcPts val="596"/>
              </a:spcAft>
            </a:pPr>
            <a:r>
              <a:rPr lang="en-GB" sz="1588" b="1" dirty="0">
                <a:solidFill>
                  <a:srgbClr val="000000"/>
                </a:solidFill>
                <a:latin typeface="+mj-lt"/>
              </a:rPr>
              <a:t>Overall</a:t>
            </a:r>
          </a:p>
        </p:txBody>
      </p:sp>
      <p:sp>
        <p:nvSpPr>
          <p:cNvPr id="103" name="Rectangle 102"/>
          <p:cNvSpPr/>
          <p:nvPr/>
        </p:nvSpPr>
        <p:spPr>
          <a:xfrm>
            <a:off x="9559355" y="285500"/>
            <a:ext cx="2600556" cy="722299"/>
          </a:xfrm>
          <a:prstGeom prst="rect">
            <a:avLst/>
          </a:prstGeom>
          <a:solidFill>
            <a:schemeClr val="bg1">
              <a:lumMod val="95000"/>
            </a:schemeClr>
          </a:solidFill>
          <a:ln w="6350">
            <a:noFill/>
          </a:ln>
        </p:spPr>
        <p:txBody>
          <a:bodyPr vert="horz" wrap="square" lIns="80682" tIns="40341" rIns="80682" bIns="40341" rtlCol="0" anchor="ctr">
            <a:noAutofit/>
          </a:bodyPr>
          <a:lstStyle/>
          <a:p>
            <a:pPr algn="ctr"/>
            <a:endParaRPr lang="en-GB" sz="1588" dirty="0"/>
          </a:p>
        </p:txBody>
      </p:sp>
      <p:sp>
        <p:nvSpPr>
          <p:cNvPr id="105" name="Rectangle 104"/>
          <p:cNvSpPr/>
          <p:nvPr/>
        </p:nvSpPr>
        <p:spPr>
          <a:xfrm>
            <a:off x="10802471" y="419970"/>
            <a:ext cx="1221441" cy="722299"/>
          </a:xfrm>
          <a:prstGeom prst="rect">
            <a:avLst/>
          </a:prstGeom>
          <a:solidFill>
            <a:schemeClr val="bg1">
              <a:lumMod val="95000"/>
            </a:schemeClr>
          </a:solidFill>
          <a:ln w="6350">
            <a:noFill/>
          </a:ln>
        </p:spPr>
        <p:txBody>
          <a:bodyPr vert="horz" wrap="square" lIns="80682" tIns="40341" rIns="80682" bIns="40341" rtlCol="0" anchor="ctr">
            <a:noAutofit/>
          </a:bodyPr>
          <a:lstStyle/>
          <a:p>
            <a:pPr algn="ctr"/>
            <a:endParaRPr lang="en-GB" sz="1588" dirty="0"/>
          </a:p>
        </p:txBody>
      </p:sp>
      <p:sp>
        <p:nvSpPr>
          <p:cNvPr id="106" name="877">
            <a:hlinkClick r:id="" action="ppaction://noaction"/>
          </p:cNvPr>
          <p:cNvSpPr txBox="1"/>
          <p:nvPr>
            <p:custDataLst>
              <p:tags r:id="rId7"/>
            </p:custDataLst>
          </p:nvPr>
        </p:nvSpPr>
        <p:spPr>
          <a:xfrm>
            <a:off x="11084146" y="621255"/>
            <a:ext cx="420779" cy="122213"/>
          </a:xfrm>
          <a:prstGeom prst="rect">
            <a:avLst/>
          </a:prstGeom>
          <a:noFill/>
          <a:ln>
            <a:noFill/>
          </a:ln>
        </p:spPr>
        <p:txBody>
          <a:bodyPr wrap="none" lIns="24205" tIns="0" rIns="24205" bIns="0" rtlCol="0">
            <a:spAutoFit/>
          </a:bodyPr>
          <a:lstStyle/>
          <a:p>
            <a:r>
              <a:rPr lang="en-GB" sz="794" noProof="1">
                <a:cs typeface="Arial" pitchFamily="34" charset="0"/>
              </a:rPr>
              <a:t>Contents</a:t>
            </a:r>
          </a:p>
        </p:txBody>
      </p:sp>
    </p:spTree>
    <p:custDataLst>
      <p:tags r:id="rId1"/>
    </p:custDataLst>
    <p:extLst>
      <p:ext uri="{BB962C8B-B14F-4D97-AF65-F5344CB8AC3E}">
        <p14:creationId xmlns:p14="http://schemas.microsoft.com/office/powerpoint/2010/main" val="12442061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a:spLocks noGrp="1"/>
          </p:cNvSpPr>
          <p:nvPr>
            <p:ph type="title"/>
          </p:nvPr>
        </p:nvSpPr>
        <p:spPr>
          <a:xfrm>
            <a:off x="292274" y="283923"/>
            <a:ext cx="11615804" cy="1027135"/>
          </a:xfrm>
        </p:spPr>
        <p:txBody>
          <a:bodyPr>
            <a:normAutofit fontScale="90000"/>
          </a:bodyPr>
          <a:lstStyle/>
          <a:p>
            <a:r>
              <a:rPr lang="en-GB" b="1" dirty="0"/>
              <a:t>SPONSORSHIP SALES</a:t>
            </a:r>
            <a:br>
              <a:rPr lang="en-GB" b="1" dirty="0"/>
            </a:br>
            <a:r>
              <a:rPr lang="en-GB" b="1" i="1" dirty="0"/>
              <a:t>– Sector stabilisation returns</a:t>
            </a:r>
          </a:p>
        </p:txBody>
      </p:sp>
      <p:sp>
        <p:nvSpPr>
          <p:cNvPr id="5" name="Slide Number Placeholder 1"/>
          <p:cNvSpPr>
            <a:spLocks noGrp="1"/>
          </p:cNvSpPr>
          <p:nvPr>
            <p:ph type="sldNum" sz="quarter" idx="12"/>
          </p:nvPr>
        </p:nvSpPr>
        <p:spPr>
          <a:xfrm>
            <a:off x="292273" y="6454925"/>
            <a:ext cx="1377864" cy="192000"/>
          </a:xfrm>
        </p:spPr>
        <p:txBody>
          <a:bodyPr/>
          <a:lstStyle/>
          <a:p>
            <a:fld id="{CB342F7F-7FB6-49CA-8A95-3BF05FAAE808}" type="slidenum">
              <a:rPr lang="en-GB" smtClean="0"/>
              <a:pPr/>
              <a:t>21</a:t>
            </a:fld>
            <a:endParaRPr lang="en-GB" dirty="0"/>
          </a:p>
        </p:txBody>
      </p:sp>
      <p:graphicFrame>
        <p:nvGraphicFramePr>
          <p:cNvPr id="6" name="Chart 6"/>
          <p:cNvGraphicFramePr>
            <a:graphicFrameLocks/>
          </p:cNvGraphicFramePr>
          <p:nvPr>
            <p:extLst>
              <p:ext uri="{D42A27DB-BD31-4B8C-83A1-F6EECF244321}">
                <p14:modId xmlns:p14="http://schemas.microsoft.com/office/powerpoint/2010/main" val="2265450846"/>
              </p:ext>
            </p:extLst>
          </p:nvPr>
        </p:nvGraphicFramePr>
        <p:xfrm>
          <a:off x="96251" y="1984745"/>
          <a:ext cx="11698800" cy="4101121"/>
        </p:xfrm>
        <a:graphic>
          <a:graphicData uri="http://schemas.openxmlformats.org/drawingml/2006/chart">
            <c:chart xmlns:c="http://schemas.openxmlformats.org/drawingml/2006/chart" xmlns:r="http://schemas.openxmlformats.org/officeDocument/2006/relationships" r:id="rId2"/>
          </a:graphicData>
        </a:graphic>
      </p:graphicFrame>
      <p:grpSp>
        <p:nvGrpSpPr>
          <p:cNvPr id="7" name="Group 3"/>
          <p:cNvGrpSpPr/>
          <p:nvPr/>
        </p:nvGrpSpPr>
        <p:grpSpPr>
          <a:xfrm>
            <a:off x="6886301" y="438736"/>
            <a:ext cx="5031865" cy="1774086"/>
            <a:chOff x="5249785" y="2037349"/>
            <a:chExt cx="3773899" cy="1330564"/>
          </a:xfrm>
        </p:grpSpPr>
        <p:sp>
          <p:nvSpPr>
            <p:cNvPr id="8" name="Oval 7"/>
            <p:cNvSpPr/>
            <p:nvPr/>
          </p:nvSpPr>
          <p:spPr>
            <a:xfrm>
              <a:off x="5249785" y="2037349"/>
              <a:ext cx="304800" cy="3048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133" b="1" dirty="0"/>
                <a:t>1</a:t>
              </a:r>
            </a:p>
          </p:txBody>
        </p:sp>
        <p:sp>
          <p:nvSpPr>
            <p:cNvPr id="9" name="Oval 8"/>
            <p:cNvSpPr/>
            <p:nvPr/>
          </p:nvSpPr>
          <p:spPr>
            <a:xfrm>
              <a:off x="5249785" y="2374232"/>
              <a:ext cx="304800" cy="304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133" b="1" dirty="0"/>
                <a:t>2</a:t>
              </a:r>
            </a:p>
          </p:txBody>
        </p:sp>
        <p:sp>
          <p:nvSpPr>
            <p:cNvPr id="10" name="Oval 9"/>
            <p:cNvSpPr/>
            <p:nvPr/>
          </p:nvSpPr>
          <p:spPr>
            <a:xfrm>
              <a:off x="5249785" y="3063113"/>
              <a:ext cx="304800" cy="3048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133" b="1" dirty="0"/>
                <a:t>4</a:t>
              </a:r>
            </a:p>
          </p:txBody>
        </p:sp>
        <p:sp>
          <p:nvSpPr>
            <p:cNvPr id="11" name="Oval 10"/>
            <p:cNvSpPr/>
            <p:nvPr/>
          </p:nvSpPr>
          <p:spPr>
            <a:xfrm>
              <a:off x="5249785" y="2711117"/>
              <a:ext cx="3048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133" b="1" dirty="0"/>
                <a:t>3</a:t>
              </a:r>
            </a:p>
          </p:txBody>
        </p:sp>
        <p:sp>
          <p:nvSpPr>
            <p:cNvPr id="12" name="Rectangle 11"/>
            <p:cNvSpPr/>
            <p:nvPr/>
          </p:nvSpPr>
          <p:spPr>
            <a:xfrm>
              <a:off x="5602745" y="2093247"/>
              <a:ext cx="3420939" cy="200007"/>
            </a:xfrm>
            <a:prstGeom prst="rect">
              <a:avLst/>
            </a:prstGeom>
            <a:noFill/>
          </p:spPr>
          <p:txBody>
            <a:bodyPr wrap="square" lIns="0" tIns="0" rIns="0" bIns="0">
              <a:spAutoFit/>
            </a:bodyPr>
            <a:lstStyle/>
            <a:p>
              <a:r>
                <a:rPr lang="en-US" sz="1733" b="1" dirty="0"/>
                <a:t>FINANCIAL SERVICES most volatile, but stabilising</a:t>
              </a:r>
            </a:p>
          </p:txBody>
        </p:sp>
        <p:sp>
          <p:nvSpPr>
            <p:cNvPr id="13" name="Rectangle 12"/>
            <p:cNvSpPr/>
            <p:nvPr/>
          </p:nvSpPr>
          <p:spPr>
            <a:xfrm>
              <a:off x="5602745" y="2430131"/>
              <a:ext cx="3420939" cy="200007"/>
            </a:xfrm>
            <a:prstGeom prst="rect">
              <a:avLst/>
            </a:prstGeom>
            <a:noFill/>
          </p:spPr>
          <p:txBody>
            <a:bodyPr wrap="square" lIns="0" tIns="0" rIns="0" bIns="0">
              <a:spAutoFit/>
            </a:bodyPr>
            <a:lstStyle/>
            <a:p>
              <a:r>
                <a:rPr lang="en-US" sz="1733" b="1" dirty="0"/>
                <a:t>BEVERAGE SECTOR on the rise</a:t>
              </a:r>
            </a:p>
          </p:txBody>
        </p:sp>
        <p:sp>
          <p:nvSpPr>
            <p:cNvPr id="14" name="Rectangle 13"/>
            <p:cNvSpPr/>
            <p:nvPr/>
          </p:nvSpPr>
          <p:spPr>
            <a:xfrm>
              <a:off x="5602745" y="2758994"/>
              <a:ext cx="3420939" cy="200007"/>
            </a:xfrm>
            <a:prstGeom prst="rect">
              <a:avLst/>
            </a:prstGeom>
            <a:noFill/>
          </p:spPr>
          <p:txBody>
            <a:bodyPr wrap="square" lIns="0" tIns="0" rIns="0" bIns="0">
              <a:spAutoFit/>
            </a:bodyPr>
            <a:lstStyle/>
            <a:p>
              <a:r>
                <a:rPr lang="en-US" sz="1733" b="1" dirty="0"/>
                <a:t>AUTOMOTIVES slight decline, still top 3</a:t>
              </a:r>
            </a:p>
          </p:txBody>
        </p:sp>
        <p:sp>
          <p:nvSpPr>
            <p:cNvPr id="15" name="Rectangle 14"/>
            <p:cNvSpPr/>
            <p:nvPr/>
          </p:nvSpPr>
          <p:spPr>
            <a:xfrm>
              <a:off x="5602745" y="3119010"/>
              <a:ext cx="3420939" cy="200007"/>
            </a:xfrm>
            <a:prstGeom prst="rect">
              <a:avLst/>
            </a:prstGeom>
            <a:noFill/>
          </p:spPr>
          <p:txBody>
            <a:bodyPr wrap="square" lIns="0" tIns="0" rIns="0" bIns="0">
              <a:spAutoFit/>
            </a:bodyPr>
            <a:lstStyle/>
            <a:p>
              <a:r>
                <a:rPr lang="en-US" sz="1733" b="1" dirty="0"/>
                <a:t>TELECOMS steady decline since crisis</a:t>
              </a:r>
            </a:p>
          </p:txBody>
        </p:sp>
      </p:grpSp>
      <p:sp>
        <p:nvSpPr>
          <p:cNvPr id="16" name="TextBox 16"/>
          <p:cNvSpPr txBox="1"/>
          <p:nvPr/>
        </p:nvSpPr>
        <p:spPr>
          <a:xfrm>
            <a:off x="789031" y="6464874"/>
            <a:ext cx="1647952" cy="205121"/>
          </a:xfrm>
          <a:prstGeom prst="rect">
            <a:avLst/>
          </a:prstGeom>
          <a:noFill/>
        </p:spPr>
        <p:txBody>
          <a:bodyPr wrap="none" lIns="0" tIns="0" rIns="0" bIns="0" rtlCol="0">
            <a:spAutoFit/>
          </a:bodyPr>
          <a:lstStyle/>
          <a:p>
            <a:r>
              <a:rPr lang="en-GB" sz="1333" i="1" dirty="0"/>
              <a:t>Trend analysis by sector</a:t>
            </a:r>
          </a:p>
        </p:txBody>
      </p:sp>
    </p:spTree>
    <p:extLst>
      <p:ext uri="{BB962C8B-B14F-4D97-AF65-F5344CB8AC3E}">
        <p14:creationId xmlns:p14="http://schemas.microsoft.com/office/powerpoint/2010/main" val="35799971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p:cNvGraphicFramePr>
            <a:graphicFrameLocks noChangeAspect="1"/>
          </p:cNvGraphicFramePr>
          <p:nvPr>
            <p:custDataLst>
              <p:tags r:id="rId2"/>
            </p:custDataLst>
          </p:nvPr>
        </p:nvGraphicFramePr>
        <p:xfrm>
          <a:off x="1402" y="1402"/>
          <a:ext cx="1400" cy="1400"/>
        </p:xfrm>
        <a:graphic>
          <a:graphicData uri="http://schemas.openxmlformats.org/presentationml/2006/ole">
            <mc:AlternateContent xmlns:mc="http://schemas.openxmlformats.org/markup-compatibility/2006">
              <mc:Choice xmlns:v="urn:schemas-microsoft-com:vml" Requires="v">
                <p:oleObj name="think-cell Slide" r:id="rId10" imgW="622" imgH="623" progId="TCLayout.ActiveDocument.1">
                  <p:embed/>
                </p:oleObj>
              </mc:Choice>
              <mc:Fallback>
                <p:oleObj name="think-cell Slide" r:id="rId10" imgW="622" imgH="623" progId="TCLayout.ActiveDocument.1">
                  <p:embed/>
                  <p:pic>
                    <p:nvPicPr>
                      <p:cNvPr id="59" name="Object 58" hidden="1"/>
                      <p:cNvPicPr/>
                      <p:nvPr/>
                    </p:nvPicPr>
                    <p:blipFill>
                      <a:blip r:embed="rId11"/>
                      <a:stretch>
                        <a:fillRect/>
                      </a:stretch>
                    </p:blipFill>
                    <p:spPr>
                      <a:xfrm>
                        <a:off x="1402" y="1402"/>
                        <a:ext cx="1400" cy="1400"/>
                      </a:xfrm>
                      <a:prstGeom prst="rect">
                        <a:avLst/>
                      </a:prstGeom>
                    </p:spPr>
                  </p:pic>
                </p:oleObj>
              </mc:Fallback>
            </mc:AlternateContent>
          </a:graphicData>
        </a:graphic>
      </p:graphicFrame>
      <p:grpSp>
        <p:nvGrpSpPr>
          <p:cNvPr id="4" name="Grid" hidden="1"/>
          <p:cNvGrpSpPr/>
          <p:nvPr>
            <p:custDataLst>
              <p:tags r:id="rId3"/>
            </p:custDataLst>
          </p:nvPr>
        </p:nvGrpSpPr>
        <p:grpSpPr>
          <a:xfrm>
            <a:off x="590911" y="540572"/>
            <a:ext cx="10958239" cy="6043108"/>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971"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971"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707409">
                <a:buSzPct val="90000"/>
                <a:defRPr/>
              </a:pPr>
              <a:endParaRPr lang="en-GB" sz="1235"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sp>
        <p:nvSpPr>
          <p:cNvPr id="3" name="Title 2"/>
          <p:cNvSpPr>
            <a:spLocks noGrp="1"/>
          </p:cNvSpPr>
          <p:nvPr>
            <p:ph type="title"/>
          </p:nvPr>
        </p:nvSpPr>
        <p:spPr/>
        <p:txBody>
          <a:bodyPr/>
          <a:lstStyle/>
          <a:p>
            <a:r>
              <a:rPr lang="en-GB" dirty="0"/>
              <a:t>Key trends: what is the market telling us?</a:t>
            </a:r>
            <a:br>
              <a:rPr lang="en-GB" dirty="0"/>
            </a:br>
            <a:r>
              <a:rPr lang="en-GB" b="0" dirty="0"/>
              <a:t>Overall state of the industry: key threats</a:t>
            </a:r>
            <a:endParaRPr lang="en-GB" dirty="0"/>
          </a:p>
        </p:txBody>
      </p:sp>
      <p:sp>
        <p:nvSpPr>
          <p:cNvPr id="55" name="Section Header"/>
          <p:cNvSpPr txBox="1"/>
          <p:nvPr>
            <p:custDataLst>
              <p:tags r:id="rId4"/>
            </p:custDataLst>
          </p:nvPr>
        </p:nvSpPr>
        <p:spPr>
          <a:xfrm>
            <a:off x="590911" y="621254"/>
            <a:ext cx="3695552" cy="121024"/>
          </a:xfrm>
          <a:prstGeom prst="rect">
            <a:avLst/>
          </a:prstGeom>
          <a:noFill/>
        </p:spPr>
        <p:txBody>
          <a:bodyPr wrap="square" lIns="0" tIns="0" rIns="0" bIns="0" rtlCol="0" anchor="b" anchorCtr="0">
            <a:noAutofit/>
          </a:bodyPr>
          <a:lstStyle/>
          <a:p>
            <a:r>
              <a:rPr lang="en-GB" sz="794" noProof="1"/>
              <a:t>0.1 Introduction: why are we here?</a:t>
            </a:r>
          </a:p>
        </p:txBody>
      </p:sp>
      <p:sp>
        <p:nvSpPr>
          <p:cNvPr id="56" name="Page Number"/>
          <p:cNvSpPr txBox="1"/>
          <p:nvPr>
            <p:custDataLst>
              <p:tags r:id="rId5"/>
            </p:custDataLst>
          </p:nvPr>
        </p:nvSpPr>
        <p:spPr>
          <a:xfrm>
            <a:off x="11151579" y="6308261"/>
            <a:ext cx="387927" cy="122205"/>
          </a:xfrm>
          <a:prstGeom prst="rect">
            <a:avLst/>
          </a:prstGeom>
          <a:noFill/>
          <a:ln>
            <a:noFill/>
          </a:ln>
        </p:spPr>
        <p:txBody>
          <a:bodyPr wrap="square" lIns="0" tIns="0" rIns="0" bIns="0" rtlCol="0">
            <a:noAutofit/>
          </a:bodyPr>
          <a:lstStyle/>
          <a:p>
            <a:pPr algn="r"/>
            <a:r>
              <a:rPr lang="en-GB" sz="794">
                <a:cs typeface="Arial" pitchFamily="34" charset="0"/>
              </a:rPr>
              <a:t>13</a:t>
            </a:r>
            <a:endParaRPr lang="en-GB" sz="794" dirty="0">
              <a:cs typeface="Arial" pitchFamily="34" charset="0"/>
            </a:endParaRPr>
          </a:p>
        </p:txBody>
      </p:sp>
      <p:sp>
        <p:nvSpPr>
          <p:cNvPr id="57" name="Section Footer"/>
          <p:cNvSpPr txBox="1"/>
          <p:nvPr>
            <p:custDataLst>
              <p:tags r:id="rId6"/>
            </p:custDataLst>
          </p:nvPr>
        </p:nvSpPr>
        <p:spPr>
          <a:xfrm>
            <a:off x="589520" y="6308253"/>
            <a:ext cx="2557631" cy="122213"/>
          </a:xfrm>
          <a:prstGeom prst="rect">
            <a:avLst/>
          </a:prstGeom>
          <a:noFill/>
          <a:ln>
            <a:noFill/>
          </a:ln>
        </p:spPr>
        <p:txBody>
          <a:bodyPr wrap="square" lIns="0" tIns="0" rIns="0" bIns="0" rtlCol="0" anchor="b" anchorCtr="0">
            <a:spAutoFit/>
          </a:bodyPr>
          <a:lstStyle/>
          <a:p>
            <a:r>
              <a:rPr lang="en-GB" sz="794" noProof="1"/>
              <a:t>Sports industry: lost in transition?</a:t>
            </a:r>
          </a:p>
        </p:txBody>
      </p:sp>
      <p:sp>
        <p:nvSpPr>
          <p:cNvPr id="58" name="Rectangle 57"/>
          <p:cNvSpPr/>
          <p:nvPr/>
        </p:nvSpPr>
        <p:spPr>
          <a:xfrm>
            <a:off x="0" y="-11526"/>
            <a:ext cx="12192000" cy="6858000"/>
          </a:xfrm>
          <a:prstGeom prst="rect">
            <a:avLst/>
          </a:prstGeom>
          <a:solidFill>
            <a:srgbClr val="FFFFFF"/>
          </a:solidFill>
          <a:ln w="6350">
            <a:solidFill>
              <a:schemeClr val="bg1"/>
            </a:solidFill>
          </a:ln>
        </p:spPr>
        <p:txBody>
          <a:bodyPr vert="horz" wrap="square" lIns="80682" tIns="40341" rIns="80682" bIns="40341" rtlCol="0" anchor="ctr">
            <a:noAutofit/>
          </a:bodyPr>
          <a:lstStyle/>
          <a:p>
            <a:pPr algn="ctr"/>
            <a:endParaRPr lang="en-GB" sz="1588" dirty="0"/>
          </a:p>
        </p:txBody>
      </p:sp>
      <p:pic>
        <p:nvPicPr>
          <p:cNvPr id="64" name="Picture 63"/>
          <p:cNvPicPr>
            <a:picLocks noChangeAspect="1"/>
          </p:cNvPicPr>
          <p:nvPr/>
        </p:nvPicPr>
        <p:blipFill rotWithShape="1">
          <a:blip r:embed="rId12"/>
          <a:srcRect t="11519"/>
          <a:stretch/>
        </p:blipFill>
        <p:spPr>
          <a:xfrm>
            <a:off x="3848767" y="568641"/>
            <a:ext cx="7521050" cy="6004210"/>
          </a:xfrm>
          <a:prstGeom prst="rect">
            <a:avLst/>
          </a:prstGeom>
        </p:spPr>
      </p:pic>
      <p:sp>
        <p:nvSpPr>
          <p:cNvPr id="65" name="Rectangle 64"/>
          <p:cNvSpPr/>
          <p:nvPr/>
        </p:nvSpPr>
        <p:spPr>
          <a:xfrm>
            <a:off x="0" y="-11526"/>
            <a:ext cx="3463681" cy="6866866"/>
          </a:xfrm>
          <a:prstGeom prst="rect">
            <a:avLst/>
          </a:prstGeom>
          <a:solidFill>
            <a:schemeClr val="bg1">
              <a:lumMod val="95000"/>
            </a:schemeClr>
          </a:solidFill>
          <a:ln w="6350">
            <a:noFill/>
          </a:ln>
        </p:spPr>
        <p:txBody>
          <a:bodyPr vert="horz" wrap="square" lIns="80682" tIns="40341" rIns="80682" bIns="40341" rtlCol="0" anchor="ctr">
            <a:noAutofit/>
          </a:bodyPr>
          <a:lstStyle/>
          <a:p>
            <a:pPr algn="ctr"/>
            <a:endParaRPr lang="en-GB" sz="1588" dirty="0"/>
          </a:p>
        </p:txBody>
      </p:sp>
      <p:sp>
        <p:nvSpPr>
          <p:cNvPr id="69" name="Title 2"/>
          <p:cNvSpPr txBox="1">
            <a:spLocks/>
          </p:cNvSpPr>
          <p:nvPr/>
        </p:nvSpPr>
        <p:spPr>
          <a:xfrm>
            <a:off x="404469" y="2128285"/>
            <a:ext cx="2742683" cy="3010632"/>
          </a:xfrm>
          <a:prstGeom prst="rect">
            <a:avLst/>
          </a:prstGeom>
        </p:spPr>
        <p:txBody>
          <a:bodyPr vert="horz" lIns="0" tIns="0" rIns="0" bIns="0" rtlCol="0" anchor="t" anchorCtr="0">
            <a:noAutofit/>
          </a:bodyPr>
          <a:lstStyle>
            <a:lvl1pPr>
              <a:spcBef>
                <a:spcPct val="0"/>
              </a:spcBef>
              <a:buNone/>
              <a:defRPr lang="en-GB" sz="2400" b="1" i="1" baseline="0" noProof="0" dirty="0">
                <a:solidFill>
                  <a:schemeClr val="tx2"/>
                </a:solidFill>
                <a:latin typeface="+mj-lt"/>
                <a:ea typeface="+mj-ea"/>
                <a:cs typeface="+mj-cs"/>
              </a:defRPr>
            </a:lvl1pPr>
          </a:lstStyle>
          <a:p>
            <a:br>
              <a:rPr lang="en-GB" sz="2647" dirty="0"/>
            </a:br>
            <a:r>
              <a:rPr lang="en-GB" sz="2647" dirty="0"/>
              <a:t>Top 3 areas of focus for sponsors to drive ROI</a:t>
            </a:r>
            <a:endParaRPr lang="en-GB" sz="2647" b="0" dirty="0"/>
          </a:p>
        </p:txBody>
      </p:sp>
      <p:sp>
        <p:nvSpPr>
          <p:cNvPr id="67" name="Rectangle 66"/>
          <p:cNvSpPr/>
          <p:nvPr/>
        </p:nvSpPr>
        <p:spPr>
          <a:xfrm>
            <a:off x="387372" y="1985562"/>
            <a:ext cx="2051310" cy="370329"/>
          </a:xfrm>
          <a:prstGeom prst="rect">
            <a:avLst/>
          </a:prstGeom>
          <a:solidFill>
            <a:schemeClr val="accent4"/>
          </a:solidFill>
          <a:ln w="6350">
            <a:noFill/>
          </a:ln>
        </p:spPr>
        <p:txBody>
          <a:bodyPr vert="horz" wrap="square" lIns="80682" tIns="40341" rIns="80682" bIns="40341" rtlCol="0" anchor="ctr">
            <a:noAutofit/>
          </a:bodyPr>
          <a:lstStyle/>
          <a:p>
            <a:pPr algn="ctr"/>
            <a:r>
              <a:rPr lang="en-GB" sz="1588" i="1" dirty="0">
                <a:solidFill>
                  <a:schemeClr val="bg2"/>
                </a:solidFill>
                <a:latin typeface="+mj-lt"/>
              </a:rPr>
              <a:t>Sponsorship</a:t>
            </a:r>
          </a:p>
        </p:txBody>
      </p:sp>
      <p:sp>
        <p:nvSpPr>
          <p:cNvPr id="68" name="Rectangle 67"/>
          <p:cNvSpPr/>
          <p:nvPr/>
        </p:nvSpPr>
        <p:spPr>
          <a:xfrm>
            <a:off x="10836088" y="327417"/>
            <a:ext cx="1108005" cy="485764"/>
          </a:xfrm>
          <a:prstGeom prst="rect">
            <a:avLst/>
          </a:prstGeom>
          <a:solidFill>
            <a:schemeClr val="bg1"/>
          </a:solidFill>
          <a:ln w="6350">
            <a:noFill/>
          </a:ln>
        </p:spPr>
        <p:txBody>
          <a:bodyPr vert="horz" wrap="square" lIns="80682" tIns="40341" rIns="80682" bIns="40341" rtlCol="0" anchor="ctr">
            <a:noAutofit/>
          </a:bodyPr>
          <a:lstStyle/>
          <a:p>
            <a:pPr algn="ctr"/>
            <a:endParaRPr lang="en-GB" sz="1588" dirty="0"/>
          </a:p>
        </p:txBody>
      </p:sp>
      <p:sp>
        <p:nvSpPr>
          <p:cNvPr id="70" name="877">
            <a:hlinkClick r:id="" action="ppaction://noaction"/>
          </p:cNvPr>
          <p:cNvSpPr txBox="1"/>
          <p:nvPr>
            <p:custDataLst>
              <p:tags r:id="rId7"/>
            </p:custDataLst>
          </p:nvPr>
        </p:nvSpPr>
        <p:spPr>
          <a:xfrm>
            <a:off x="11084146" y="621255"/>
            <a:ext cx="420779" cy="122213"/>
          </a:xfrm>
          <a:prstGeom prst="rect">
            <a:avLst/>
          </a:prstGeom>
          <a:noFill/>
          <a:ln>
            <a:noFill/>
          </a:ln>
        </p:spPr>
        <p:txBody>
          <a:bodyPr wrap="none" lIns="24205" tIns="0" rIns="24205" bIns="0" rtlCol="0">
            <a:spAutoFit/>
          </a:bodyPr>
          <a:lstStyle/>
          <a:p>
            <a:r>
              <a:rPr lang="en-GB" sz="794" noProof="1">
                <a:cs typeface="Arial" pitchFamily="34" charset="0"/>
              </a:rPr>
              <a:t>Contents</a:t>
            </a:r>
          </a:p>
        </p:txBody>
      </p:sp>
    </p:spTree>
    <p:custDataLst>
      <p:tags r:id="rId1"/>
    </p:custDataLst>
    <p:extLst>
      <p:ext uri="{BB962C8B-B14F-4D97-AF65-F5344CB8AC3E}">
        <p14:creationId xmlns:p14="http://schemas.microsoft.com/office/powerpoint/2010/main" val="42346040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 name="Image 2">
            <a:extLst>
              <a:ext uri="{FF2B5EF4-FFF2-40B4-BE49-F238E27FC236}">
                <a16:creationId xmlns:a16="http://schemas.microsoft.com/office/drawing/2014/main" id="{19DB4981-A9BA-4A9B-B357-92291350488D}"/>
              </a:ext>
            </a:extLst>
          </p:cNvPr>
          <p:cNvPicPr>
            <a:picLocks noChangeAspect="1"/>
          </p:cNvPicPr>
          <p:nvPr/>
        </p:nvPicPr>
        <p:blipFill rotWithShape="1">
          <a:blip r:embed="rId2"/>
          <a:srcRect l="4013" r="16417" b="1"/>
          <a:stretch/>
        </p:blipFill>
        <p:spPr>
          <a:xfrm>
            <a:off x="20" y="1282"/>
            <a:ext cx="12191980" cy="6856718"/>
          </a:xfrm>
          <a:prstGeom prst="rect">
            <a:avLst/>
          </a:prstGeom>
        </p:spPr>
      </p:pic>
    </p:spTree>
    <p:extLst>
      <p:ext uri="{BB962C8B-B14F-4D97-AF65-F5344CB8AC3E}">
        <p14:creationId xmlns:p14="http://schemas.microsoft.com/office/powerpoint/2010/main" val="35961291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550CDF0D-C07B-1A11-C00F-A9D21349B319}"/>
              </a:ext>
            </a:extLst>
          </p:cNvPr>
          <p:cNvPicPr>
            <a:picLocks noChangeAspect="1"/>
          </p:cNvPicPr>
          <p:nvPr/>
        </p:nvPicPr>
        <p:blipFill>
          <a:blip r:embed="rId2"/>
          <a:stretch>
            <a:fillRect/>
          </a:stretch>
        </p:blipFill>
        <p:spPr>
          <a:xfrm>
            <a:off x="643467" y="1501940"/>
            <a:ext cx="10905066" cy="3854119"/>
          </a:xfrm>
          <a:prstGeom prst="rect">
            <a:avLst/>
          </a:prstGeom>
        </p:spPr>
      </p:pic>
    </p:spTree>
    <p:extLst>
      <p:ext uri="{BB962C8B-B14F-4D97-AF65-F5344CB8AC3E}">
        <p14:creationId xmlns:p14="http://schemas.microsoft.com/office/powerpoint/2010/main" val="14291555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Image 2">
            <a:extLst>
              <a:ext uri="{FF2B5EF4-FFF2-40B4-BE49-F238E27FC236}">
                <a16:creationId xmlns:a16="http://schemas.microsoft.com/office/drawing/2014/main" id="{7338AB7C-3C2B-3438-9333-3FF033D7C42B}"/>
              </a:ext>
            </a:extLst>
          </p:cNvPr>
          <p:cNvPicPr>
            <a:picLocks noChangeAspect="1"/>
          </p:cNvPicPr>
          <p:nvPr/>
        </p:nvPicPr>
        <p:blipFill>
          <a:blip r:embed="rId2"/>
          <a:stretch>
            <a:fillRect/>
          </a:stretch>
        </p:blipFill>
        <p:spPr>
          <a:xfrm>
            <a:off x="511508" y="457200"/>
            <a:ext cx="11168984" cy="5943600"/>
          </a:xfrm>
          <a:prstGeom prst="rect">
            <a:avLst/>
          </a:prstGeom>
        </p:spPr>
      </p:pic>
    </p:spTree>
    <p:extLst>
      <p:ext uri="{BB962C8B-B14F-4D97-AF65-F5344CB8AC3E}">
        <p14:creationId xmlns:p14="http://schemas.microsoft.com/office/powerpoint/2010/main" val="36642871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B6BC1C85-C427-C93D-7B7F-2D98196A2FCF}"/>
              </a:ext>
            </a:extLst>
          </p:cNvPr>
          <p:cNvPicPr>
            <a:picLocks noChangeAspect="1"/>
          </p:cNvPicPr>
          <p:nvPr/>
        </p:nvPicPr>
        <p:blipFill>
          <a:blip r:embed="rId2"/>
          <a:stretch>
            <a:fillRect/>
          </a:stretch>
        </p:blipFill>
        <p:spPr>
          <a:xfrm>
            <a:off x="0" y="956387"/>
            <a:ext cx="12192000" cy="4945225"/>
          </a:xfrm>
          <a:prstGeom prst="rect">
            <a:avLst/>
          </a:prstGeom>
        </p:spPr>
      </p:pic>
    </p:spTree>
    <p:extLst>
      <p:ext uri="{BB962C8B-B14F-4D97-AF65-F5344CB8AC3E}">
        <p14:creationId xmlns:p14="http://schemas.microsoft.com/office/powerpoint/2010/main" val="20829975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AE0A13F8-5B28-4709-923F-1A3731A06D92}"/>
              </a:ext>
            </a:extLst>
          </p:cNvPr>
          <p:cNvPicPr>
            <a:picLocks noChangeAspect="1"/>
          </p:cNvPicPr>
          <p:nvPr/>
        </p:nvPicPr>
        <p:blipFill>
          <a:blip r:embed="rId3"/>
          <a:stretch>
            <a:fillRect/>
          </a:stretch>
        </p:blipFill>
        <p:spPr>
          <a:xfrm>
            <a:off x="7421726" y="0"/>
            <a:ext cx="4770274" cy="2385137"/>
          </a:xfrm>
          <a:prstGeom prst="rect">
            <a:avLst/>
          </a:prstGeom>
        </p:spPr>
      </p:pic>
      <p:pic>
        <p:nvPicPr>
          <p:cNvPr id="15364" name="Picture 4" descr="Résultat de recherche d'images pour &quot;accor psg&quot;">
            <a:extLst>
              <a:ext uri="{FF2B5EF4-FFF2-40B4-BE49-F238E27FC236}">
                <a16:creationId xmlns:a16="http://schemas.microsoft.com/office/drawing/2014/main" id="{C880C7E0-370A-40D7-B8F0-BE4D8C2ED4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3089635"/>
            <a:ext cx="4883613" cy="3768365"/>
          </a:xfrm>
          <a:prstGeom prst="rect">
            <a:avLst/>
          </a:prstGeom>
          <a:noFill/>
          <a:extLst>
            <a:ext uri="{909E8E84-426E-40DD-AFC4-6F175D3DCCD1}">
              <a14:hiddenFill xmlns:a14="http://schemas.microsoft.com/office/drawing/2010/main">
                <a:solidFill>
                  <a:srgbClr val="FFFFFF"/>
                </a:solidFill>
              </a14:hiddenFill>
            </a:ext>
          </a:extLst>
        </p:spPr>
      </p:pic>
      <p:sp>
        <p:nvSpPr>
          <p:cNvPr id="9" name="ZoneTexte 8">
            <a:extLst>
              <a:ext uri="{FF2B5EF4-FFF2-40B4-BE49-F238E27FC236}">
                <a16:creationId xmlns:a16="http://schemas.microsoft.com/office/drawing/2014/main" id="{0F11A829-CABA-48D8-9784-AA4643BBEA34}"/>
              </a:ext>
            </a:extLst>
          </p:cNvPr>
          <p:cNvSpPr txBox="1"/>
          <p:nvPr/>
        </p:nvSpPr>
        <p:spPr>
          <a:xfrm>
            <a:off x="4883614" y="2731417"/>
            <a:ext cx="7308386" cy="369332"/>
          </a:xfrm>
          <a:prstGeom prst="rect">
            <a:avLst/>
          </a:prstGeom>
          <a:noFill/>
        </p:spPr>
        <p:txBody>
          <a:bodyPr wrap="square" rtlCol="0">
            <a:spAutoFit/>
          </a:bodyPr>
          <a:lstStyle/>
          <a:p>
            <a:pPr algn="ctr"/>
            <a:r>
              <a:rPr lang="fr-FR" dirty="0"/>
              <a:t>PSG = 395 M Followers + ACCOR = 265 M </a:t>
            </a:r>
            <a:r>
              <a:rPr lang="fr-FR" dirty="0" err="1"/>
              <a:t>Customers</a:t>
            </a:r>
            <a:endParaRPr lang="fr-FR" dirty="0"/>
          </a:p>
        </p:txBody>
      </p:sp>
      <p:pic>
        <p:nvPicPr>
          <p:cNvPr id="11" name="Image 10" descr="Une image contenant personne, homme&#10;&#10;Description générée automatiquement">
            <a:extLst>
              <a:ext uri="{FF2B5EF4-FFF2-40B4-BE49-F238E27FC236}">
                <a16:creationId xmlns:a16="http://schemas.microsoft.com/office/drawing/2014/main" id="{2E4E2E0D-90E3-41C7-B0A4-3E5112F3835E}"/>
              </a:ext>
            </a:extLst>
          </p:cNvPr>
          <p:cNvPicPr>
            <a:picLocks noChangeAspect="1"/>
          </p:cNvPicPr>
          <p:nvPr/>
        </p:nvPicPr>
        <p:blipFill>
          <a:blip r:embed="rId5"/>
          <a:stretch>
            <a:fillRect/>
          </a:stretch>
        </p:blipFill>
        <p:spPr>
          <a:xfrm>
            <a:off x="4872504" y="3339622"/>
            <a:ext cx="7297277" cy="3077955"/>
          </a:xfrm>
          <a:prstGeom prst="rect">
            <a:avLst/>
          </a:prstGeom>
        </p:spPr>
      </p:pic>
      <p:pic>
        <p:nvPicPr>
          <p:cNvPr id="2" name="Média en ligne 1" title="ALLxPSG">
            <a:hlinkClick r:id="" action="ppaction://media"/>
            <a:extLst>
              <a:ext uri="{FF2B5EF4-FFF2-40B4-BE49-F238E27FC236}">
                <a16:creationId xmlns:a16="http://schemas.microsoft.com/office/drawing/2014/main" id="{487AF806-7ABC-4F01-807C-0A051568E44B}"/>
              </a:ext>
            </a:extLst>
          </p:cNvPr>
          <p:cNvPicPr>
            <a:picLocks noRot="1" noChangeAspect="1"/>
          </p:cNvPicPr>
          <p:nvPr>
            <a:videoFile r:link="rId1"/>
          </p:nvPr>
        </p:nvPicPr>
        <p:blipFill>
          <a:blip r:embed="rId6"/>
          <a:stretch>
            <a:fillRect/>
          </a:stretch>
        </p:blipFill>
        <p:spPr>
          <a:xfrm>
            <a:off x="540471" y="0"/>
            <a:ext cx="5407842" cy="3041911"/>
          </a:xfrm>
          <a:prstGeom prst="rect">
            <a:avLst/>
          </a:prstGeom>
        </p:spPr>
      </p:pic>
    </p:spTree>
    <p:extLst>
      <p:ext uri="{BB962C8B-B14F-4D97-AF65-F5344CB8AC3E}">
        <p14:creationId xmlns:p14="http://schemas.microsoft.com/office/powerpoint/2010/main" val="40050049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bg>
      <p:bgPr>
        <a:gradFill rotWithShape="1">
          <a:gsLst>
            <a:gs pos="99000">
              <a:schemeClr val="bg2">
                <a:tint val="90000"/>
                <a:lumMod val="120000"/>
              </a:schemeClr>
            </a:gs>
            <a:gs pos="100000">
              <a:schemeClr val="bg2">
                <a:shade val="98000"/>
                <a:satMod val="120000"/>
                <a:lumMod val="98000"/>
              </a:schemeClr>
            </a:gs>
          </a:gsLst>
          <a:lin ang="5400000" scaled="0"/>
        </a:gradFill>
        <a:effectLst/>
      </p:bgPr>
    </p:bg>
    <p:spTree>
      <p:nvGrpSpPr>
        <p:cNvPr id="1" name=""/>
        <p:cNvGrpSpPr/>
        <p:nvPr/>
      </p:nvGrpSpPr>
      <p:grpSpPr>
        <a:xfrm>
          <a:off x="0" y="0"/>
          <a:ext cx="0" cy="0"/>
          <a:chOff x="0" y="0"/>
          <a:chExt cx="0" cy="0"/>
        </a:xfrm>
      </p:grpSpPr>
      <p:pic>
        <p:nvPicPr>
          <p:cNvPr id="2" name="Média en ligne 1" title="AU COEUR DU ALL FASHION SHOW !">
            <a:hlinkClick r:id="" action="ppaction://media"/>
            <a:extLst>
              <a:ext uri="{FF2B5EF4-FFF2-40B4-BE49-F238E27FC236}">
                <a16:creationId xmlns:a16="http://schemas.microsoft.com/office/drawing/2014/main" id="{B658DDBE-F57F-43B0-9418-F944B03FBC3F}"/>
              </a:ext>
            </a:extLst>
          </p:cNvPr>
          <p:cNvPicPr>
            <a:picLocks noRot="1" noChangeAspect="1"/>
          </p:cNvPicPr>
          <p:nvPr>
            <a:videoFile r:link="rId1"/>
          </p:nvPr>
        </p:nvPicPr>
        <p:blipFill>
          <a:blip r:embed="rId5"/>
          <a:stretch>
            <a:fillRect/>
          </a:stretch>
        </p:blipFill>
        <p:spPr>
          <a:xfrm>
            <a:off x="1352940" y="369723"/>
            <a:ext cx="4621763" cy="2599742"/>
          </a:xfrm>
          <a:prstGeom prst="rect">
            <a:avLst/>
          </a:prstGeom>
          <a:solidFill>
            <a:srgbClr val="000000"/>
          </a:solidFill>
          <a:ln w="177800" cap="flat">
            <a:solidFill>
              <a:srgbClr val="0D0D0D"/>
            </a:solidFill>
            <a:miter lim="800000"/>
          </a:ln>
          <a:effectLst>
            <a:outerShdw blurRad="190500" dist="215900" dir="3000000" algn="tr" rotWithShape="0">
              <a:srgbClr val="000000">
                <a:alpha val="20000"/>
              </a:srgbClr>
            </a:outerShdw>
          </a:effectLst>
          <a:scene3d>
            <a:camera prst="perspectiveContrastingLeftFacing" fov="3300000">
              <a:rot lat="0" lon="1200000" rev="0"/>
            </a:camera>
            <a:lightRig rig="balanced" dir="t">
              <a:rot lat="0" lon="0" rev="4200000"/>
            </a:lightRig>
          </a:scene3d>
          <a:sp3d extrusionH="635000" prstMaterial="metal">
            <a:bevelT w="190500" h="12700" prst="slope"/>
            <a:extrusionClr>
              <a:srgbClr val="010000"/>
            </a:extrusionClr>
            <a:contourClr>
              <a:srgbClr val="000000"/>
            </a:contourClr>
          </a:sp3d>
        </p:spPr>
      </p:pic>
      <p:pic>
        <p:nvPicPr>
          <p:cNvPr id="3" name="Média en ligne 2" title="￰ﾟﾆﾕ￰ﾟﾧﾤ￰ﾟﾔﾴ￰ﾟﾔﾵ #ICICESTPARIS">
            <a:hlinkClick r:id="" action="ppaction://media"/>
            <a:extLst>
              <a:ext uri="{FF2B5EF4-FFF2-40B4-BE49-F238E27FC236}">
                <a16:creationId xmlns:a16="http://schemas.microsoft.com/office/drawing/2014/main" id="{15F5CAD3-0BC2-4723-8364-05E1E15F0413}"/>
              </a:ext>
            </a:extLst>
          </p:cNvPr>
          <p:cNvPicPr>
            <a:picLocks noRot="1" noChangeAspect="1"/>
          </p:cNvPicPr>
          <p:nvPr>
            <a:videoFile r:link="rId2"/>
          </p:nvPr>
        </p:nvPicPr>
        <p:blipFill>
          <a:blip r:embed="rId6"/>
          <a:stretch>
            <a:fillRect/>
          </a:stretch>
        </p:blipFill>
        <p:spPr>
          <a:xfrm>
            <a:off x="1284515" y="3591121"/>
            <a:ext cx="5150500" cy="2897156"/>
          </a:xfrm>
          <a:prstGeom prst="rect">
            <a:avLst/>
          </a:prstGeom>
          <a:ln w="9525" cap="flat">
            <a:solidFill>
              <a:srgbClr val="383838"/>
            </a:solidFill>
          </a:ln>
          <a:effectLst>
            <a:outerShdw blurRad="152400" dist="317500" dir="6000000" sx="105000" sy="105000" algn="tl" rotWithShape="0">
              <a:srgbClr val="000000">
                <a:alpha val="30000"/>
              </a:srgbClr>
            </a:outerShdw>
          </a:effectLst>
          <a:scene3d>
            <a:camera prst="perspectiveRight" fov="2100000">
              <a:rot lat="0" lon="20400000" rev="0"/>
            </a:camera>
            <a:lightRig rig="threePt" dir="t"/>
          </a:scene3d>
          <a:sp3d extrusionH="889000" prstMaterial="matte">
            <a:extrusionClr>
              <a:srgbClr val="777777"/>
            </a:extrusionClr>
          </a:sp3d>
        </p:spPr>
      </p:pic>
      <p:pic>
        <p:nvPicPr>
          <p:cNvPr id="4" name="Média en ligne 3" title="#PassTheJersey">
            <a:hlinkClick r:id="" action="ppaction://media"/>
            <a:extLst>
              <a:ext uri="{FF2B5EF4-FFF2-40B4-BE49-F238E27FC236}">
                <a16:creationId xmlns:a16="http://schemas.microsoft.com/office/drawing/2014/main" id="{6CED65BD-F577-459B-AB65-F1178C140F7D}"/>
              </a:ext>
            </a:extLst>
          </p:cNvPr>
          <p:cNvPicPr>
            <a:picLocks noRot="1" noChangeAspect="1"/>
          </p:cNvPicPr>
          <p:nvPr>
            <a:videoFile r:link="rId3"/>
          </p:nvPr>
        </p:nvPicPr>
        <p:blipFill>
          <a:blip r:embed="rId7"/>
          <a:stretch>
            <a:fillRect/>
          </a:stretch>
        </p:blipFill>
        <p:spPr>
          <a:xfrm>
            <a:off x="6932640" y="2180158"/>
            <a:ext cx="5016758" cy="2821926"/>
          </a:xfrm>
          <a:prstGeom prst="rect">
            <a:avLst/>
          </a:prstGeom>
          <a:ln w="6350" cap="flat">
            <a:solidFill>
              <a:srgbClr val="BFBFBF"/>
            </a:solidFill>
          </a:ln>
          <a:effectLst>
            <a:outerShdw blurRad="190500" dist="215900" dir="7200000" sx="101000" sy="101000" algn="t" rotWithShape="0">
              <a:srgbClr val="000000">
                <a:alpha val="20000"/>
              </a:srgbClr>
            </a:outerShdw>
          </a:effectLst>
          <a:scene3d>
            <a:camera prst="perspectiveRight" fov="3300000">
              <a:rot lat="0" lon="20100000" rev="0"/>
            </a:camera>
            <a:lightRig rig="threePt" dir="t">
              <a:rot lat="0" lon="0" rev="3600000"/>
            </a:lightRig>
          </a:scene3d>
          <a:sp3d extrusionH="952500">
            <a:extrusionClr>
              <a:srgbClr val="D9D9D9"/>
            </a:extrusionClr>
            <a:contourClr>
              <a:srgbClr val="D9D9D9"/>
            </a:contourClr>
          </a:sp3d>
        </p:spPr>
      </p:pic>
    </p:spTree>
    <p:extLst>
      <p:ext uri="{BB962C8B-B14F-4D97-AF65-F5344CB8AC3E}">
        <p14:creationId xmlns:p14="http://schemas.microsoft.com/office/powerpoint/2010/main" val="20741050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1" fill="hold"/>
                                        <p:tgtEl>
                                          <p:spTgt spid="3"/>
                                        </p:tgtEl>
                                      </p:cBhvr>
                                    </p:cmd>
                                  </p:childTnLst>
                                </p:cTn>
                              </p:par>
                            </p:childTnLst>
                          </p:cTn>
                        </p:par>
                      </p:childTnLst>
                    </p:cTn>
                  </p:par>
                  <p:par>
                    <p:cTn id="11" fill="hold">
                      <p:stCondLst>
                        <p:cond delay="indefinite"/>
                      </p:stCondLst>
                      <p:childTnLst>
                        <p:par>
                          <p:cTn id="12" fill="hold">
                            <p:stCondLst>
                              <p:cond delay="0"/>
                            </p:stCondLst>
                            <p:childTnLst>
                              <p:par>
                                <p:cTn id="13" presetID="1" presetClass="mediacall" presetSubtype="0" fill="hold" nodeType="clickEffect">
                                  <p:stCondLst>
                                    <p:cond delay="0"/>
                                  </p:stCondLst>
                                  <p:childTnLst>
                                    <p:cmd type="call" cmd="playFrom(0.0)">
                                      <p:cBhvr>
                                        <p:cTn id="14"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5" fill="hold" display="0">
                  <p:stCondLst>
                    <p:cond delay="indefinite"/>
                  </p:stCondLst>
                </p:cTn>
                <p:tgtEl>
                  <p:spTgt spid="2"/>
                </p:tgtEl>
              </p:cMediaNode>
            </p:video>
            <p:seq concurrent="1" nextAc="seek">
              <p:cTn id="16" restart="whenNotActive" fill="hold" evtFilter="cancelBubble" nodeType="interactiveSeq">
                <p:stCondLst>
                  <p:cond evt="onClick" delay="0">
                    <p:tgtEl>
                      <p:spTgt spid="2"/>
                    </p:tgtEl>
                  </p:cond>
                </p:stCondLst>
                <p:endSync evt="end" delay="0">
                  <p:rtn val="all"/>
                </p:endSync>
                <p:childTnLst>
                  <p:par>
                    <p:cTn id="17" fill="hold">
                      <p:stCondLst>
                        <p:cond delay="0"/>
                      </p:stCondLst>
                      <p:childTnLst>
                        <p:par>
                          <p:cTn id="18" fill="hold">
                            <p:stCondLst>
                              <p:cond delay="0"/>
                            </p:stCondLst>
                            <p:childTnLst>
                              <p:par>
                                <p:cTn id="19" presetID="2" presetClass="mediacall" presetSubtype="0" fill="hold" nodeType="clickEffect">
                                  <p:stCondLst>
                                    <p:cond delay="0"/>
                                  </p:stCondLst>
                                  <p:childTnLst>
                                    <p:cmd type="call" cmd="togglePause">
                                      <p:cBhvr>
                                        <p:cTn id="20" dur="1" fill="hold"/>
                                        <p:tgtEl>
                                          <p:spTgt spid="2"/>
                                        </p:tgtEl>
                                      </p:cBhvr>
                                    </p:cmd>
                                  </p:childTnLst>
                                </p:cTn>
                              </p:par>
                            </p:childTnLst>
                          </p:cTn>
                        </p:par>
                      </p:childTnLst>
                    </p:cTn>
                  </p:par>
                </p:childTnLst>
              </p:cTn>
              <p:nextCondLst>
                <p:cond evt="onClick" delay="0">
                  <p:tgtEl>
                    <p:spTgt spid="2"/>
                  </p:tgtEl>
                </p:cond>
              </p:nextCondLst>
            </p:seq>
            <p:video>
              <p:cMediaNode vol="80000">
                <p:cTn id="21" fill="hold" display="0">
                  <p:stCondLst>
                    <p:cond delay="indefinite"/>
                  </p:stCondLst>
                </p:cTn>
                <p:tgtEl>
                  <p:spTgt spid="3"/>
                </p:tgtEl>
              </p:cMediaNode>
            </p:video>
            <p:seq concurrent="1" nextAc="seek">
              <p:cTn id="22" restart="whenNotActive" fill="hold" evtFilter="cancelBubble" nodeType="interactiveSeq">
                <p:stCondLst>
                  <p:cond evt="onClick" delay="0">
                    <p:tgtEl>
                      <p:spTgt spid="3"/>
                    </p:tgtEl>
                  </p:cond>
                </p:stCondLst>
                <p:endSync evt="end" delay="0">
                  <p:rtn val="all"/>
                </p:endSync>
                <p:childTnLst>
                  <p:par>
                    <p:cTn id="23" fill="hold">
                      <p:stCondLst>
                        <p:cond delay="0"/>
                      </p:stCondLst>
                      <p:childTnLst>
                        <p:par>
                          <p:cTn id="24" fill="hold">
                            <p:stCondLst>
                              <p:cond delay="0"/>
                            </p:stCondLst>
                            <p:childTnLst>
                              <p:par>
                                <p:cTn id="25" presetID="2" presetClass="mediacall" presetSubtype="0" fill="hold" nodeType="clickEffect">
                                  <p:stCondLst>
                                    <p:cond delay="0"/>
                                  </p:stCondLst>
                                  <p:childTnLst>
                                    <p:cmd type="call" cmd="togglePause">
                                      <p:cBhvr>
                                        <p:cTn id="26" dur="1" fill="hold"/>
                                        <p:tgtEl>
                                          <p:spTgt spid="3"/>
                                        </p:tgtEl>
                                      </p:cBhvr>
                                    </p:cmd>
                                  </p:childTnLst>
                                </p:cTn>
                              </p:par>
                            </p:childTnLst>
                          </p:cTn>
                        </p:par>
                      </p:childTnLst>
                    </p:cTn>
                  </p:par>
                </p:childTnLst>
              </p:cTn>
              <p:nextCondLst>
                <p:cond evt="onClick" delay="0">
                  <p:tgtEl>
                    <p:spTgt spid="3"/>
                  </p:tgtEl>
                </p:cond>
              </p:nextCondLst>
            </p:seq>
            <p:video>
              <p:cMediaNode vol="80000">
                <p:cTn id="27" fill="hold" display="0">
                  <p:stCondLst>
                    <p:cond delay="indefinite"/>
                  </p:stCondLst>
                </p:cTn>
                <p:tgtEl>
                  <p:spTgt spid="4"/>
                </p:tgtEl>
              </p:cMediaNode>
            </p:video>
            <p:seq concurrent="1" nextAc="seek">
              <p:cTn id="28" restart="whenNotActive" fill="hold" evtFilter="cancelBubble" nodeType="interactiveSeq">
                <p:stCondLst>
                  <p:cond evt="onClick" delay="0">
                    <p:tgtEl>
                      <p:spTgt spid="4"/>
                    </p:tgtEl>
                  </p:cond>
                </p:stCondLst>
                <p:endSync evt="end" delay="0">
                  <p:rtn val="all"/>
                </p:endSync>
                <p:childTnLst>
                  <p:par>
                    <p:cTn id="29" fill="hold">
                      <p:stCondLst>
                        <p:cond delay="0"/>
                      </p:stCondLst>
                      <p:childTnLst>
                        <p:par>
                          <p:cTn id="30" fill="hold">
                            <p:stCondLst>
                              <p:cond delay="0"/>
                            </p:stCondLst>
                            <p:childTnLst>
                              <p:par>
                                <p:cTn id="31" presetID="2" presetClass="mediacall" presetSubtype="0" fill="hold" nodeType="clickEffect">
                                  <p:stCondLst>
                                    <p:cond delay="0"/>
                                  </p:stCondLst>
                                  <p:childTnLst>
                                    <p:cmd type="call" cmd="togglePause">
                                      <p:cBhvr>
                                        <p:cTn id="3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ctr"/>
            <a:r>
              <a:rPr lang="fr-FR" b="1" dirty="0"/>
              <a:t>Sponsors goals</a:t>
            </a:r>
          </a:p>
        </p:txBody>
      </p:sp>
      <p:sp>
        <p:nvSpPr>
          <p:cNvPr id="3" name="Espace réservé du contenu 2"/>
          <p:cNvSpPr>
            <a:spLocks noGrp="1"/>
          </p:cNvSpPr>
          <p:nvPr>
            <p:ph sz="half" idx="2"/>
          </p:nvPr>
        </p:nvSpPr>
        <p:spPr>
          <a:xfrm>
            <a:off x="856582" y="1833881"/>
            <a:ext cx="4937760" cy="4161566"/>
          </a:xfrm>
        </p:spPr>
        <p:txBody>
          <a:bodyPr>
            <a:noAutofit/>
          </a:bodyPr>
          <a:lstStyle/>
          <a:p>
            <a:pPr marL="0" indent="0" algn="ctr">
              <a:buNone/>
            </a:pPr>
            <a:r>
              <a:rPr lang="fr-FR" sz="1600" b="1" dirty="0"/>
              <a:t>WHY</a:t>
            </a:r>
          </a:p>
          <a:p>
            <a:pPr>
              <a:buFont typeface="Courier New" panose="02070309020205020404" pitchFamily="49" charset="0"/>
              <a:buChar char="o"/>
            </a:pPr>
            <a:r>
              <a:rPr lang="fr-FR" sz="1600" b="1" dirty="0"/>
              <a:t>Top of </a:t>
            </a:r>
            <a:r>
              <a:rPr lang="fr-FR" sz="1600" b="1" dirty="0" err="1"/>
              <a:t>mind</a:t>
            </a:r>
            <a:r>
              <a:rPr lang="fr-FR" sz="1600" b="1" dirty="0"/>
              <a:t> (</a:t>
            </a:r>
            <a:r>
              <a:rPr lang="fr-FR" sz="1600" b="1" dirty="0" err="1"/>
              <a:t>notoriety</a:t>
            </a:r>
            <a:r>
              <a:rPr lang="fr-FR" sz="1600" b="1" dirty="0"/>
              <a:t>), image, </a:t>
            </a:r>
            <a:r>
              <a:rPr lang="fr-FR" sz="1600" b="1" dirty="0" err="1"/>
              <a:t>reputation</a:t>
            </a:r>
            <a:r>
              <a:rPr lang="fr-FR" sz="1600" b="1" dirty="0"/>
              <a:t> !</a:t>
            </a:r>
          </a:p>
          <a:p>
            <a:pPr>
              <a:buFont typeface="Courier New" panose="02070309020205020404" pitchFamily="49" charset="0"/>
              <a:buChar char="o"/>
            </a:pPr>
            <a:endParaRPr lang="fr-FR" sz="1600" b="1" dirty="0"/>
          </a:p>
          <a:p>
            <a:pPr>
              <a:buFont typeface="Courier New" panose="02070309020205020404" pitchFamily="49" charset="0"/>
              <a:buChar char="o"/>
            </a:pPr>
            <a:r>
              <a:rPr lang="fr-FR" sz="1600" b="1" dirty="0" err="1"/>
              <a:t>Increase</a:t>
            </a:r>
            <a:r>
              <a:rPr lang="fr-FR" sz="1600" b="1" dirty="0"/>
              <a:t> sales / </a:t>
            </a:r>
            <a:r>
              <a:rPr lang="fr-FR" sz="1600" b="1" dirty="0" err="1"/>
              <a:t>product</a:t>
            </a:r>
            <a:r>
              <a:rPr lang="fr-FR" sz="1600" b="1" dirty="0"/>
              <a:t> ou service placement </a:t>
            </a:r>
          </a:p>
          <a:p>
            <a:pPr>
              <a:buFont typeface="Courier New" panose="02070309020205020404" pitchFamily="49" charset="0"/>
              <a:buChar char="o"/>
            </a:pPr>
            <a:endParaRPr lang="fr-FR" sz="1600" b="1" dirty="0"/>
          </a:p>
          <a:p>
            <a:pPr>
              <a:buFont typeface="Courier New" panose="02070309020205020404" pitchFamily="49" charset="0"/>
              <a:buChar char="o"/>
            </a:pPr>
            <a:r>
              <a:rPr lang="fr-FR" sz="1600" b="1" dirty="0"/>
              <a:t>CRM, Prospection </a:t>
            </a:r>
          </a:p>
          <a:p>
            <a:pPr>
              <a:buFont typeface="Courier New" panose="02070309020205020404" pitchFamily="49" charset="0"/>
              <a:buChar char="o"/>
            </a:pPr>
            <a:endParaRPr lang="fr-FR" sz="1600" b="1" dirty="0"/>
          </a:p>
          <a:p>
            <a:pPr>
              <a:buFont typeface="Courier New" panose="02070309020205020404" pitchFamily="49" charset="0"/>
              <a:buChar char="o"/>
            </a:pPr>
            <a:r>
              <a:rPr lang="fr-FR" sz="1600" b="1" dirty="0" err="1"/>
              <a:t>Internal</a:t>
            </a:r>
            <a:r>
              <a:rPr lang="fr-FR" sz="1600" b="1" dirty="0"/>
              <a:t> communication</a:t>
            </a:r>
          </a:p>
          <a:p>
            <a:pPr>
              <a:buFont typeface="Courier New" panose="02070309020205020404" pitchFamily="49" charset="0"/>
              <a:buChar char="o"/>
            </a:pPr>
            <a:endParaRPr lang="fr-FR" sz="1600" b="1" dirty="0"/>
          </a:p>
          <a:p>
            <a:pPr>
              <a:buFont typeface="Courier New" panose="02070309020205020404" pitchFamily="49" charset="0"/>
              <a:buChar char="o"/>
            </a:pPr>
            <a:r>
              <a:rPr lang="fr-FR" sz="1600" b="1" dirty="0" err="1"/>
              <a:t>Connect</a:t>
            </a:r>
            <a:r>
              <a:rPr lang="fr-FR" sz="1600" b="1" dirty="0"/>
              <a:t> the fans to the brands</a:t>
            </a:r>
          </a:p>
        </p:txBody>
      </p:sp>
      <p:sp>
        <p:nvSpPr>
          <p:cNvPr id="4" name="Espace réservé du contenu 3"/>
          <p:cNvSpPr>
            <a:spLocks noGrp="1"/>
          </p:cNvSpPr>
          <p:nvPr>
            <p:ph sz="quarter" idx="4"/>
          </p:nvPr>
        </p:nvSpPr>
        <p:spPr>
          <a:xfrm>
            <a:off x="6774102" y="1833881"/>
            <a:ext cx="4937760" cy="4035213"/>
          </a:xfrm>
        </p:spPr>
        <p:txBody>
          <a:bodyPr>
            <a:normAutofit/>
          </a:bodyPr>
          <a:lstStyle/>
          <a:p>
            <a:pPr marL="0" indent="0" algn="ctr">
              <a:buNone/>
            </a:pPr>
            <a:r>
              <a:rPr lang="fr-FR" sz="1600" b="1" dirty="0"/>
              <a:t>HOW</a:t>
            </a:r>
          </a:p>
          <a:p>
            <a:pPr>
              <a:buFont typeface="Courier New" panose="02070309020205020404" pitchFamily="49" charset="0"/>
              <a:buChar char="o"/>
            </a:pPr>
            <a:endParaRPr lang="fr-FR" sz="1600" b="1" dirty="0"/>
          </a:p>
          <a:p>
            <a:pPr>
              <a:buFont typeface="Courier New" panose="02070309020205020404" pitchFamily="49" charset="0"/>
              <a:buChar char="o"/>
            </a:pPr>
            <a:r>
              <a:rPr lang="fr-FR" sz="1600" b="1" dirty="0"/>
              <a:t>Media – Social Media – PR</a:t>
            </a:r>
          </a:p>
          <a:p>
            <a:pPr>
              <a:buFont typeface="Courier New" panose="02070309020205020404" pitchFamily="49" charset="0"/>
              <a:buChar char="o"/>
            </a:pPr>
            <a:endParaRPr lang="fr-FR" sz="1600" b="1" dirty="0"/>
          </a:p>
          <a:p>
            <a:pPr>
              <a:buFont typeface="Courier New" panose="02070309020205020404" pitchFamily="49" charset="0"/>
              <a:buChar char="o"/>
            </a:pPr>
            <a:r>
              <a:rPr lang="fr-FR" sz="1600" b="1" dirty="0"/>
              <a:t>On site marketing </a:t>
            </a:r>
            <a:r>
              <a:rPr lang="fr-FR" sz="1600" b="1" dirty="0" err="1"/>
              <a:t>operations</a:t>
            </a:r>
            <a:endParaRPr lang="fr-FR" sz="1600" b="1" dirty="0"/>
          </a:p>
          <a:p>
            <a:pPr>
              <a:buFont typeface="Courier New" panose="02070309020205020404" pitchFamily="49" charset="0"/>
              <a:buChar char="o"/>
            </a:pPr>
            <a:endParaRPr lang="fr-FR" sz="1600" b="1" dirty="0"/>
          </a:p>
          <a:p>
            <a:pPr>
              <a:buFont typeface="Courier New" panose="02070309020205020404" pitchFamily="49" charset="0"/>
              <a:buChar char="o"/>
            </a:pPr>
            <a:r>
              <a:rPr lang="fr-FR" sz="1600" b="1" dirty="0"/>
              <a:t>PR (</a:t>
            </a:r>
            <a:r>
              <a:rPr lang="fr-FR" sz="1600" b="1" dirty="0" err="1"/>
              <a:t>BtB</a:t>
            </a:r>
            <a:r>
              <a:rPr lang="fr-FR" sz="1600" b="1" dirty="0"/>
              <a:t> &amp; </a:t>
            </a:r>
            <a:r>
              <a:rPr lang="fr-FR" sz="1600" b="1" dirty="0" err="1"/>
              <a:t>BtC</a:t>
            </a:r>
            <a:r>
              <a:rPr lang="fr-FR" sz="1600" b="1" dirty="0"/>
              <a:t>)</a:t>
            </a:r>
          </a:p>
          <a:p>
            <a:pPr>
              <a:buFont typeface="Courier New" panose="02070309020205020404" pitchFamily="49" charset="0"/>
              <a:buChar char="o"/>
            </a:pPr>
            <a:endParaRPr lang="fr-FR" sz="1600" b="1" dirty="0"/>
          </a:p>
          <a:p>
            <a:pPr>
              <a:buFont typeface="Courier New" panose="02070309020205020404" pitchFamily="49" charset="0"/>
              <a:buChar char="o"/>
            </a:pPr>
            <a:r>
              <a:rPr lang="fr-FR" sz="1600" b="1" dirty="0"/>
              <a:t>PR</a:t>
            </a:r>
          </a:p>
          <a:p>
            <a:pPr>
              <a:buFont typeface="Courier New" panose="02070309020205020404" pitchFamily="49" charset="0"/>
              <a:buChar char="o"/>
            </a:pPr>
            <a:endParaRPr lang="fr-FR" sz="1600" b="1" dirty="0"/>
          </a:p>
          <a:p>
            <a:pPr>
              <a:buFont typeface="Courier New" panose="02070309020205020404" pitchFamily="49" charset="0"/>
              <a:buChar char="o"/>
            </a:pPr>
            <a:r>
              <a:rPr lang="fr-FR" sz="1600" b="1" dirty="0"/>
              <a:t>Activations </a:t>
            </a:r>
          </a:p>
        </p:txBody>
      </p:sp>
    </p:spTree>
    <p:extLst>
      <p:ext uri="{BB962C8B-B14F-4D97-AF65-F5344CB8AC3E}">
        <p14:creationId xmlns:p14="http://schemas.microsoft.com/office/powerpoint/2010/main" val="28413543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Média en ligne 3" title="Uber Eats x Olympique de Marseille : L'OM c'est vous. | Uber Eats">
            <a:hlinkClick r:id="" action="ppaction://media"/>
            <a:extLst>
              <a:ext uri="{FF2B5EF4-FFF2-40B4-BE49-F238E27FC236}">
                <a16:creationId xmlns:a16="http://schemas.microsoft.com/office/drawing/2014/main" id="{9F29476C-1175-4003-9CB2-2987F7211BF0}"/>
              </a:ext>
            </a:extLst>
          </p:cNvPr>
          <p:cNvPicPr>
            <a:picLocks noGrp="1" noRot="1" noChangeAspect="1"/>
          </p:cNvPicPr>
          <p:nvPr>
            <p:ph idx="1"/>
            <a:videoFile r:link="rId1"/>
          </p:nvPr>
        </p:nvPicPr>
        <p:blipFill>
          <a:blip r:embed="rId5"/>
          <a:stretch>
            <a:fillRect/>
          </a:stretch>
        </p:blipFill>
        <p:spPr>
          <a:xfrm>
            <a:off x="206375" y="2047875"/>
            <a:ext cx="5240338" cy="2947988"/>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pic>
        <p:nvPicPr>
          <p:cNvPr id="5" name="Média en ligne 4" title="Deliveroo nouveau sponsor du PSG">
            <a:hlinkClick r:id="" action="ppaction://media"/>
            <a:extLst>
              <a:ext uri="{FF2B5EF4-FFF2-40B4-BE49-F238E27FC236}">
                <a16:creationId xmlns:a16="http://schemas.microsoft.com/office/drawing/2014/main" id="{E9626912-122E-41E1-A56B-A81F218CE460}"/>
              </a:ext>
            </a:extLst>
          </p:cNvPr>
          <p:cNvPicPr>
            <a:picLocks noRot="1" noChangeAspect="1"/>
          </p:cNvPicPr>
          <p:nvPr>
            <a:videoFile r:link="rId2"/>
          </p:nvPr>
        </p:nvPicPr>
        <p:blipFill>
          <a:blip r:embed="rId6"/>
          <a:stretch>
            <a:fillRect/>
          </a:stretch>
        </p:blipFill>
        <p:spPr>
          <a:xfrm>
            <a:off x="6417850" y="313263"/>
            <a:ext cx="5404789" cy="3040194"/>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
        <p:nvSpPr>
          <p:cNvPr id="6" name="ZoneTexte 5">
            <a:extLst>
              <a:ext uri="{FF2B5EF4-FFF2-40B4-BE49-F238E27FC236}">
                <a16:creationId xmlns:a16="http://schemas.microsoft.com/office/drawing/2014/main" id="{F6AC5C6A-B958-4DFE-95C6-E8BD22A47457}"/>
              </a:ext>
            </a:extLst>
          </p:cNvPr>
          <p:cNvSpPr txBox="1"/>
          <p:nvPr/>
        </p:nvSpPr>
        <p:spPr>
          <a:xfrm>
            <a:off x="-1003952" y="378574"/>
            <a:ext cx="8518849" cy="769441"/>
          </a:xfrm>
          <a:prstGeom prst="rect">
            <a:avLst/>
          </a:prstGeom>
          <a:noFill/>
        </p:spPr>
        <p:txBody>
          <a:bodyPr wrap="square" rtlCol="0">
            <a:spAutoFit/>
          </a:bodyPr>
          <a:lstStyle/>
          <a:p>
            <a:pPr algn="ctr"/>
            <a:r>
              <a:rPr lang="fr-FR" sz="4400" dirty="0" err="1"/>
              <a:t>Competitive</a:t>
            </a:r>
            <a:r>
              <a:rPr lang="fr-FR" sz="4400" dirty="0"/>
              <a:t> </a:t>
            </a:r>
            <a:r>
              <a:rPr lang="fr-FR" sz="4400" dirty="0" err="1"/>
              <a:t>Advantage</a:t>
            </a:r>
            <a:r>
              <a:rPr lang="fr-FR" sz="4400" dirty="0"/>
              <a:t> !</a:t>
            </a:r>
          </a:p>
        </p:txBody>
      </p:sp>
      <p:sp>
        <p:nvSpPr>
          <p:cNvPr id="7" name="ZoneTexte 6">
            <a:extLst>
              <a:ext uri="{FF2B5EF4-FFF2-40B4-BE49-F238E27FC236}">
                <a16:creationId xmlns:a16="http://schemas.microsoft.com/office/drawing/2014/main" id="{39DF11AB-1CE3-49CB-9DC8-4826E9C6E8EB}"/>
              </a:ext>
            </a:extLst>
          </p:cNvPr>
          <p:cNvSpPr txBox="1"/>
          <p:nvPr/>
        </p:nvSpPr>
        <p:spPr>
          <a:xfrm>
            <a:off x="5633156" y="2438400"/>
            <a:ext cx="598311" cy="2123658"/>
          </a:xfrm>
          <a:prstGeom prst="rect">
            <a:avLst/>
          </a:prstGeom>
          <a:noFill/>
        </p:spPr>
        <p:txBody>
          <a:bodyPr wrap="square" rtlCol="0">
            <a:spAutoFit/>
          </a:bodyPr>
          <a:lstStyle/>
          <a:p>
            <a:pPr algn="ctr"/>
            <a:r>
              <a:rPr lang="fr-FR" sz="6600" dirty="0"/>
              <a:t>VS</a:t>
            </a:r>
          </a:p>
        </p:txBody>
      </p:sp>
      <p:pic>
        <p:nvPicPr>
          <p:cNvPr id="2" name="Média en ligne 1" title="Deliveroo x OL | Olympique Lyonnais">
            <a:hlinkClick r:id="" action="ppaction://media"/>
            <a:extLst>
              <a:ext uri="{FF2B5EF4-FFF2-40B4-BE49-F238E27FC236}">
                <a16:creationId xmlns:a16="http://schemas.microsoft.com/office/drawing/2014/main" id="{3F8C7E76-5816-4AC8-8311-22CA25CFC13D}"/>
              </a:ext>
            </a:extLst>
          </p:cNvPr>
          <p:cNvPicPr>
            <a:picLocks noRot="1" noChangeAspect="1"/>
          </p:cNvPicPr>
          <p:nvPr>
            <a:videoFile r:link="rId3"/>
          </p:nvPr>
        </p:nvPicPr>
        <p:blipFill>
          <a:blip r:embed="rId7"/>
          <a:stretch>
            <a:fillRect/>
          </a:stretch>
        </p:blipFill>
        <p:spPr>
          <a:xfrm>
            <a:off x="6665720" y="3724587"/>
            <a:ext cx="5020266" cy="2823900"/>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28487495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1" fill="hold"/>
                                        <p:tgtEl>
                                          <p:spTgt spid="5"/>
                                        </p:tgtEl>
                                      </p:cBhvr>
                                    </p:cmd>
                                  </p:childTnLst>
                                </p:cTn>
                              </p:par>
                            </p:childTnLst>
                          </p:cTn>
                        </p:par>
                      </p:childTnLst>
                    </p:cTn>
                  </p:par>
                  <p:par>
                    <p:cTn id="11" fill="hold">
                      <p:stCondLst>
                        <p:cond delay="indefinite"/>
                      </p:stCondLst>
                      <p:childTnLst>
                        <p:par>
                          <p:cTn id="12" fill="hold">
                            <p:stCondLst>
                              <p:cond delay="0"/>
                            </p:stCondLst>
                            <p:childTnLst>
                              <p:par>
                                <p:cTn id="13" presetID="1" presetClass="mediacall" presetSubtype="0" fill="hold" nodeType="clickEffect">
                                  <p:stCondLst>
                                    <p:cond delay="0"/>
                                  </p:stCondLst>
                                  <p:childTnLst>
                                    <p:cmd type="call" cmd="playFrom(0.0)">
                                      <p:cBhvr>
                                        <p:cTn id="14"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5" fill="hold" display="0">
                  <p:stCondLst>
                    <p:cond delay="indefinite"/>
                  </p:stCondLst>
                </p:cTn>
                <p:tgtEl>
                  <p:spTgt spid="4"/>
                </p:tgtEl>
              </p:cMediaNode>
            </p:video>
            <p:seq concurrent="1" nextAc="seek">
              <p:cTn id="16" restart="whenNotActive" fill="hold" evtFilter="cancelBubble" nodeType="interactiveSeq">
                <p:stCondLst>
                  <p:cond evt="onClick" delay="0">
                    <p:tgtEl>
                      <p:spTgt spid="4"/>
                    </p:tgtEl>
                  </p:cond>
                </p:stCondLst>
                <p:endSync evt="end" delay="0">
                  <p:rtn val="all"/>
                </p:endSync>
                <p:childTnLst>
                  <p:par>
                    <p:cTn id="17" fill="hold">
                      <p:stCondLst>
                        <p:cond delay="0"/>
                      </p:stCondLst>
                      <p:childTnLst>
                        <p:par>
                          <p:cTn id="18" fill="hold">
                            <p:stCondLst>
                              <p:cond delay="0"/>
                            </p:stCondLst>
                            <p:childTnLst>
                              <p:par>
                                <p:cTn id="19" presetID="2" presetClass="mediacall" presetSubtype="0" fill="hold" nodeType="clickEffect">
                                  <p:stCondLst>
                                    <p:cond delay="0"/>
                                  </p:stCondLst>
                                  <p:childTnLst>
                                    <p:cmd type="call" cmd="togglePause">
                                      <p:cBhvr>
                                        <p:cTn id="20" dur="1" fill="hold"/>
                                        <p:tgtEl>
                                          <p:spTgt spid="4"/>
                                        </p:tgtEl>
                                      </p:cBhvr>
                                    </p:cmd>
                                  </p:childTnLst>
                                </p:cTn>
                              </p:par>
                            </p:childTnLst>
                          </p:cTn>
                        </p:par>
                      </p:childTnLst>
                    </p:cTn>
                  </p:par>
                </p:childTnLst>
              </p:cTn>
              <p:nextCondLst>
                <p:cond evt="onClick" delay="0">
                  <p:tgtEl>
                    <p:spTgt spid="4"/>
                  </p:tgtEl>
                </p:cond>
              </p:nextCondLst>
            </p:seq>
            <p:video>
              <p:cMediaNode vol="80000">
                <p:cTn id="21" fill="hold" display="0">
                  <p:stCondLst>
                    <p:cond delay="indefinite"/>
                  </p:stCondLst>
                </p:cTn>
                <p:tgtEl>
                  <p:spTgt spid="5"/>
                </p:tgtEl>
              </p:cMediaNode>
            </p:video>
            <p:seq concurrent="1" nextAc="seek">
              <p:cTn id="22" restart="whenNotActive" fill="hold" evtFilter="cancelBubble" nodeType="interactiveSeq">
                <p:stCondLst>
                  <p:cond evt="onClick" delay="0">
                    <p:tgtEl>
                      <p:spTgt spid="5"/>
                    </p:tgtEl>
                  </p:cond>
                </p:stCondLst>
                <p:endSync evt="end" delay="0">
                  <p:rtn val="all"/>
                </p:endSync>
                <p:childTnLst>
                  <p:par>
                    <p:cTn id="23" fill="hold">
                      <p:stCondLst>
                        <p:cond delay="0"/>
                      </p:stCondLst>
                      <p:childTnLst>
                        <p:par>
                          <p:cTn id="24" fill="hold">
                            <p:stCondLst>
                              <p:cond delay="0"/>
                            </p:stCondLst>
                            <p:childTnLst>
                              <p:par>
                                <p:cTn id="25" presetID="2" presetClass="mediacall" presetSubtype="0" fill="hold" nodeType="clickEffect">
                                  <p:stCondLst>
                                    <p:cond delay="0"/>
                                  </p:stCondLst>
                                  <p:childTnLst>
                                    <p:cmd type="call" cmd="togglePause">
                                      <p:cBhvr>
                                        <p:cTn id="26" dur="1" fill="hold"/>
                                        <p:tgtEl>
                                          <p:spTgt spid="5"/>
                                        </p:tgtEl>
                                      </p:cBhvr>
                                    </p:cmd>
                                  </p:childTnLst>
                                </p:cTn>
                              </p:par>
                            </p:childTnLst>
                          </p:cTn>
                        </p:par>
                      </p:childTnLst>
                    </p:cTn>
                  </p:par>
                </p:childTnLst>
              </p:cTn>
              <p:nextCondLst>
                <p:cond evt="onClick" delay="0">
                  <p:tgtEl>
                    <p:spTgt spid="5"/>
                  </p:tgtEl>
                </p:cond>
              </p:nextCondLst>
            </p:seq>
            <p:video>
              <p:cMediaNode vol="80000">
                <p:cTn id="27" fill="hold" display="0">
                  <p:stCondLst>
                    <p:cond delay="indefinite"/>
                  </p:stCondLst>
                </p:cTn>
                <p:tgtEl>
                  <p:spTgt spid="2"/>
                </p:tgtEl>
              </p:cMediaNode>
            </p:video>
            <p:seq concurrent="1" nextAc="seek">
              <p:cTn id="28" restart="whenNotActive" fill="hold" evtFilter="cancelBubble" nodeType="interactiveSeq">
                <p:stCondLst>
                  <p:cond evt="onClick" delay="0">
                    <p:tgtEl>
                      <p:spTgt spid="2"/>
                    </p:tgtEl>
                  </p:cond>
                </p:stCondLst>
                <p:endSync evt="end" delay="0">
                  <p:rtn val="all"/>
                </p:endSync>
                <p:childTnLst>
                  <p:par>
                    <p:cTn id="29" fill="hold">
                      <p:stCondLst>
                        <p:cond delay="0"/>
                      </p:stCondLst>
                      <p:childTnLst>
                        <p:par>
                          <p:cTn id="30" fill="hold">
                            <p:stCondLst>
                              <p:cond delay="0"/>
                            </p:stCondLst>
                            <p:childTnLst>
                              <p:par>
                                <p:cTn id="31" presetID="2" presetClass="mediacall" presetSubtype="0" fill="hold" nodeType="clickEffect">
                                  <p:stCondLst>
                                    <p:cond delay="0"/>
                                  </p:stCondLst>
                                  <p:childTnLst>
                                    <p:cmd type="call" cmd="togglePause">
                                      <p:cBhvr>
                                        <p:cTn id="3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Média en ligne 6" title="Taco Bell NBA sponsorship activation sizzle">
            <a:hlinkClick r:id="" action="ppaction://media"/>
            <a:extLst>
              <a:ext uri="{FF2B5EF4-FFF2-40B4-BE49-F238E27FC236}">
                <a16:creationId xmlns:a16="http://schemas.microsoft.com/office/drawing/2014/main" id="{4623CFF3-D9FF-4922-967E-07F4C4F3D0F6}"/>
              </a:ext>
            </a:extLst>
          </p:cNvPr>
          <p:cNvPicPr>
            <a:picLocks noRot="1" noChangeAspect="1"/>
          </p:cNvPicPr>
          <p:nvPr>
            <a:videoFile r:link="rId1"/>
          </p:nvPr>
        </p:nvPicPr>
        <p:blipFill>
          <a:blip r:embed="rId3"/>
          <a:stretch>
            <a:fillRect/>
          </a:stretch>
        </p:blipFill>
        <p:spPr>
          <a:xfrm>
            <a:off x="989736" y="431596"/>
            <a:ext cx="10657434" cy="5994807"/>
          </a:xfrm>
          <a:prstGeom prst="rect">
            <a:avLst/>
          </a:prstGeom>
          <a:ln w="9525" cap="flat">
            <a:solidFill>
              <a:srgbClr val="383838"/>
            </a:solidFill>
          </a:ln>
          <a:effectLst>
            <a:outerShdw blurRad="152400" dist="317500" dir="6000000" sx="105000" sy="105000" algn="tl" rotWithShape="0">
              <a:srgbClr val="000000">
                <a:alpha val="30000"/>
              </a:srgbClr>
            </a:outerShdw>
          </a:effectLst>
          <a:scene3d>
            <a:camera prst="perspectiveRight" fov="2100000">
              <a:rot lat="0" lon="20400000" rev="0"/>
            </a:camera>
            <a:lightRig rig="threePt" dir="t"/>
          </a:scene3d>
          <a:sp3d extrusionH="889000" prstMaterial="matte">
            <a:extrusionClr>
              <a:srgbClr val="777777"/>
            </a:extrusionClr>
          </a:sp3d>
        </p:spPr>
      </p:pic>
    </p:spTree>
    <p:extLst>
      <p:ext uri="{BB962C8B-B14F-4D97-AF65-F5344CB8AC3E}">
        <p14:creationId xmlns:p14="http://schemas.microsoft.com/office/powerpoint/2010/main" val="28042356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Old wrinkled hands with some coins">
            <a:extLst>
              <a:ext uri="{FF2B5EF4-FFF2-40B4-BE49-F238E27FC236}">
                <a16:creationId xmlns:a16="http://schemas.microsoft.com/office/drawing/2014/main" id="{104F3F79-76ED-5475-5BA6-6390A07CAACF}"/>
              </a:ext>
            </a:extLst>
          </p:cNvPr>
          <p:cNvPicPr>
            <a:picLocks noChangeAspect="1"/>
          </p:cNvPicPr>
          <p:nvPr/>
        </p:nvPicPr>
        <p:blipFill rotWithShape="1">
          <a:blip r:embed="rId2"/>
          <a:srcRect r="5882" b="-1"/>
          <a:stretch/>
        </p:blipFill>
        <p:spPr>
          <a:xfrm>
            <a:off x="1" y="10"/>
            <a:ext cx="9669642" cy="6857990"/>
          </a:xfrm>
          <a:prstGeom prst="rect">
            <a:avLst/>
          </a:prstGeom>
        </p:spPr>
      </p:pic>
      <p:sp>
        <p:nvSpPr>
          <p:cNvPr id="16" name="Rectangle 15">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125019" y="0"/>
            <a:ext cx="7066978"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re 6"/>
          <p:cNvSpPr>
            <a:spLocks noGrp="1"/>
          </p:cNvSpPr>
          <p:nvPr>
            <p:ph type="title"/>
          </p:nvPr>
        </p:nvSpPr>
        <p:spPr>
          <a:xfrm>
            <a:off x="7531610" y="365125"/>
            <a:ext cx="3822189" cy="1899912"/>
          </a:xfrm>
        </p:spPr>
        <p:txBody>
          <a:bodyPr>
            <a:normAutofit/>
          </a:bodyPr>
          <a:lstStyle/>
          <a:p>
            <a:r>
              <a:rPr lang="fr-FR" sz="4000" b="1"/>
              <a:t>Definition</a:t>
            </a:r>
          </a:p>
        </p:txBody>
      </p:sp>
      <p:sp>
        <p:nvSpPr>
          <p:cNvPr id="8" name="Espace réservé du contenu 7"/>
          <p:cNvSpPr>
            <a:spLocks noGrp="1"/>
          </p:cNvSpPr>
          <p:nvPr>
            <p:ph idx="1"/>
          </p:nvPr>
        </p:nvSpPr>
        <p:spPr>
          <a:xfrm>
            <a:off x="7531610" y="2434201"/>
            <a:ext cx="3822189" cy="3742762"/>
          </a:xfrm>
        </p:spPr>
        <p:txBody>
          <a:bodyPr>
            <a:normAutofit/>
          </a:bodyPr>
          <a:lstStyle/>
          <a:p>
            <a:pPr marL="457200" indent="-457200">
              <a:buSzTx/>
              <a:buFont typeface="Wingdings" pitchFamily="2" charset="2"/>
              <a:buChar char="«"/>
              <a:defRPr/>
            </a:pPr>
            <a:r>
              <a:rPr lang="en-US" sz="1300"/>
              <a:t>Provision of assistance either financial or in kind to an activity by a commercial organization for the purpose of achieving commercial objective (Meenaghan, 1983)</a:t>
            </a:r>
          </a:p>
          <a:p>
            <a:pPr marL="457200" indent="-457200">
              <a:buSzTx/>
              <a:buFont typeface="Wingdings" pitchFamily="2" charset="2"/>
              <a:buChar char="«"/>
              <a:defRPr/>
            </a:pPr>
            <a:endParaRPr lang="en-US" sz="1300"/>
          </a:p>
          <a:p>
            <a:pPr marL="457200" indent="-457200">
              <a:buSzTx/>
              <a:buFont typeface="Wingdings" pitchFamily="2" charset="2"/>
              <a:buChar char="«"/>
              <a:defRPr/>
            </a:pPr>
            <a:r>
              <a:rPr lang="en-US" sz="1300"/>
              <a:t>Sponsorship involves two main activities (Cornwell and Maignan, 1998) : </a:t>
            </a:r>
          </a:p>
          <a:p>
            <a:pPr marL="457200" indent="-457200">
              <a:buSzTx/>
              <a:buFont typeface="Wingdings" pitchFamily="2" charset="2"/>
              <a:buChar char="«"/>
              <a:defRPr/>
            </a:pPr>
            <a:endParaRPr lang="en-US" sz="1300"/>
          </a:p>
          <a:p>
            <a:pPr marL="838200" lvl="1" indent="-381000">
              <a:buFont typeface="Wingdings" pitchFamily="2" charset="2"/>
              <a:buChar char="«"/>
              <a:defRPr/>
            </a:pPr>
            <a:r>
              <a:rPr lang="en-US" sz="1300"/>
              <a:t>Exchange between a sponsor and a sponsoree whereby the latter receives a remuneration (cash or in-kind contribution) and the former obtains the right to associate itself with the activity sponsored</a:t>
            </a:r>
          </a:p>
          <a:p>
            <a:pPr marL="838200" lvl="1" indent="-381000">
              <a:buFont typeface="Wingdings" pitchFamily="2" charset="2"/>
              <a:buChar char="«"/>
              <a:defRPr/>
            </a:pPr>
            <a:endParaRPr lang="en-US" sz="1300"/>
          </a:p>
          <a:p>
            <a:pPr marL="838200" lvl="1" indent="-381000">
              <a:buFont typeface="Wingdings" pitchFamily="2" charset="2"/>
              <a:buChar char="«"/>
              <a:defRPr/>
            </a:pPr>
            <a:r>
              <a:rPr lang="en-US" sz="1300"/>
              <a:t>Marketing of the association by the sponsor</a:t>
            </a:r>
          </a:p>
          <a:p>
            <a:endParaRPr lang="fr-FR" sz="1300"/>
          </a:p>
        </p:txBody>
      </p:sp>
    </p:spTree>
    <p:extLst>
      <p:ext uri="{BB962C8B-B14F-4D97-AF65-F5344CB8AC3E}">
        <p14:creationId xmlns:p14="http://schemas.microsoft.com/office/powerpoint/2010/main" val="39242089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3267343" y="3988565"/>
            <a:ext cx="5762625"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fr-FR" sz="2000" b="1">
                <a:latin typeface="Garamond" pitchFamily="18" charset="0"/>
              </a:rPr>
              <a:t>Benefits for the sponsor : achieve communication objectives</a:t>
            </a:r>
          </a:p>
        </p:txBody>
      </p:sp>
      <p:sp>
        <p:nvSpPr>
          <p:cNvPr id="5" name="Text Box 3"/>
          <p:cNvSpPr txBox="1">
            <a:spLocks noChangeArrowheads="1"/>
          </p:cNvSpPr>
          <p:nvPr/>
        </p:nvSpPr>
        <p:spPr bwMode="auto">
          <a:xfrm>
            <a:off x="1900506" y="1253303"/>
            <a:ext cx="3527425" cy="174466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fr-FR" sz="2400" b="1" dirty="0">
                <a:latin typeface="Garamond" pitchFamily="18" charset="0"/>
              </a:rPr>
              <a:t>SPONSOR</a:t>
            </a:r>
          </a:p>
          <a:p>
            <a:pPr algn="ctr" eaLnBrk="1" hangingPunct="1">
              <a:spcBef>
                <a:spcPct val="50000"/>
              </a:spcBef>
            </a:pPr>
            <a:r>
              <a:rPr lang="fr-FR" sz="2400" b="1" dirty="0" err="1">
                <a:latin typeface="Garamond" pitchFamily="18" charset="0"/>
              </a:rPr>
              <a:t>Firm</a:t>
            </a:r>
            <a:r>
              <a:rPr lang="fr-FR" sz="2400" b="1" dirty="0">
                <a:latin typeface="Garamond" pitchFamily="18" charset="0"/>
              </a:rPr>
              <a:t>, non profit </a:t>
            </a:r>
            <a:r>
              <a:rPr lang="fr-FR" sz="2400" b="1" dirty="0" err="1">
                <a:latin typeface="Garamond" pitchFamily="18" charset="0"/>
              </a:rPr>
              <a:t>organization</a:t>
            </a:r>
            <a:r>
              <a:rPr lang="fr-FR" sz="2400" b="1" dirty="0">
                <a:latin typeface="Garamond" pitchFamily="18" charset="0"/>
              </a:rPr>
              <a:t>, institution… </a:t>
            </a:r>
          </a:p>
        </p:txBody>
      </p:sp>
      <p:sp>
        <p:nvSpPr>
          <p:cNvPr id="6" name="Text Box 4"/>
          <p:cNvSpPr txBox="1">
            <a:spLocks noChangeArrowheads="1"/>
          </p:cNvSpPr>
          <p:nvPr/>
        </p:nvSpPr>
        <p:spPr bwMode="auto">
          <a:xfrm>
            <a:off x="6364556" y="1253303"/>
            <a:ext cx="3887787" cy="22923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fr-FR" sz="2400" b="1" dirty="0">
                <a:latin typeface="Garamond" pitchFamily="18" charset="0"/>
              </a:rPr>
              <a:t>SPONSORED</a:t>
            </a:r>
          </a:p>
          <a:p>
            <a:pPr algn="ctr" eaLnBrk="1" hangingPunct="1">
              <a:spcBef>
                <a:spcPct val="50000"/>
              </a:spcBef>
            </a:pPr>
            <a:r>
              <a:rPr lang="fr-FR" sz="2400" b="1" dirty="0" err="1">
                <a:latin typeface="Garamond" pitchFamily="18" charset="0"/>
              </a:rPr>
              <a:t>Entity</a:t>
            </a:r>
            <a:r>
              <a:rPr lang="fr-FR" sz="2400" b="1" dirty="0">
                <a:latin typeface="Garamond" pitchFamily="18" charset="0"/>
              </a:rPr>
              <a:t> : </a:t>
            </a:r>
            <a:r>
              <a:rPr lang="fr-FR" sz="2400" b="1" dirty="0" err="1">
                <a:latin typeface="Garamond" pitchFamily="18" charset="0"/>
              </a:rPr>
              <a:t>individual</a:t>
            </a:r>
            <a:r>
              <a:rPr lang="fr-FR" sz="2400" b="1" dirty="0">
                <a:latin typeface="Garamond" pitchFamily="18" charset="0"/>
              </a:rPr>
              <a:t>, group, </a:t>
            </a:r>
            <a:r>
              <a:rPr lang="fr-FR" sz="2400" b="1" dirty="0" err="1">
                <a:latin typeface="Garamond" pitchFamily="18" charset="0"/>
              </a:rPr>
              <a:t>oragnization</a:t>
            </a:r>
            <a:r>
              <a:rPr lang="fr-FR" sz="2400" b="1" dirty="0">
                <a:latin typeface="Garamond" pitchFamily="18" charset="0"/>
              </a:rPr>
              <a:t>, </a:t>
            </a:r>
            <a:r>
              <a:rPr lang="fr-FR" sz="2400" b="1" dirty="0" err="1">
                <a:latin typeface="Garamond" pitchFamily="18" charset="0"/>
              </a:rPr>
              <a:t>event</a:t>
            </a:r>
            <a:r>
              <a:rPr lang="fr-FR" sz="2400" b="1" dirty="0">
                <a:latin typeface="Garamond" pitchFamily="18" charset="0"/>
              </a:rPr>
              <a:t>…</a:t>
            </a:r>
          </a:p>
          <a:p>
            <a:pPr algn="ctr" eaLnBrk="1" hangingPunct="1">
              <a:spcBef>
                <a:spcPct val="50000"/>
              </a:spcBef>
            </a:pPr>
            <a:r>
              <a:rPr lang="fr-FR" sz="2400" b="1" dirty="0">
                <a:latin typeface="Garamond" pitchFamily="18" charset="0"/>
              </a:rPr>
              <a:t>Area : sports, arts, </a:t>
            </a:r>
            <a:r>
              <a:rPr lang="fr-FR" sz="2400" b="1" dirty="0" err="1">
                <a:latin typeface="Garamond" pitchFamily="18" charset="0"/>
              </a:rPr>
              <a:t>environment</a:t>
            </a:r>
            <a:r>
              <a:rPr lang="fr-FR" sz="2400" b="1" dirty="0">
                <a:latin typeface="Garamond" pitchFamily="18" charset="0"/>
              </a:rPr>
              <a:t>..</a:t>
            </a:r>
          </a:p>
        </p:txBody>
      </p:sp>
      <p:sp>
        <p:nvSpPr>
          <p:cNvPr id="7" name="Text Box 5"/>
          <p:cNvSpPr txBox="1">
            <a:spLocks noChangeArrowheads="1"/>
          </p:cNvSpPr>
          <p:nvPr/>
        </p:nvSpPr>
        <p:spPr bwMode="auto">
          <a:xfrm>
            <a:off x="3556268" y="100778"/>
            <a:ext cx="5113338"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fr-FR" sz="2400" b="1">
                <a:latin typeface="Garamond" pitchFamily="18" charset="0"/>
              </a:rPr>
              <a:t>Sponsor support : financial or not</a:t>
            </a:r>
          </a:p>
        </p:txBody>
      </p:sp>
      <p:sp>
        <p:nvSpPr>
          <p:cNvPr id="8" name="Rectangle 6"/>
          <p:cNvSpPr>
            <a:spLocks noChangeArrowheads="1"/>
          </p:cNvSpPr>
          <p:nvPr/>
        </p:nvSpPr>
        <p:spPr bwMode="auto">
          <a:xfrm>
            <a:off x="1683018" y="748478"/>
            <a:ext cx="8713788" cy="396081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9" name="AutoShape 7"/>
          <p:cNvSpPr>
            <a:spLocks noChangeArrowheads="1"/>
          </p:cNvSpPr>
          <p:nvPr/>
        </p:nvSpPr>
        <p:spPr bwMode="auto">
          <a:xfrm>
            <a:off x="5067568" y="4709290"/>
            <a:ext cx="2089150" cy="360363"/>
          </a:xfrm>
          <a:prstGeom prst="downArrow">
            <a:avLst>
              <a:gd name="adj1" fmla="val 50000"/>
              <a:gd name="adj2" fmla="val 25000"/>
            </a:avLst>
          </a:prstGeom>
          <a:solidFill>
            <a:schemeClr val="bg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b="1" dirty="0">
                <a:latin typeface="Garamond" pitchFamily="18" charset="0"/>
              </a:rPr>
              <a:t>Media</a:t>
            </a:r>
          </a:p>
        </p:txBody>
      </p:sp>
      <p:sp>
        <p:nvSpPr>
          <p:cNvPr id="10" name="Oval 8"/>
          <p:cNvSpPr>
            <a:spLocks noChangeArrowheads="1"/>
          </p:cNvSpPr>
          <p:nvPr/>
        </p:nvSpPr>
        <p:spPr bwMode="auto">
          <a:xfrm>
            <a:off x="5067568" y="5212528"/>
            <a:ext cx="1152525" cy="1052512"/>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b="1" dirty="0">
                <a:latin typeface="Garamond" pitchFamily="18" charset="0"/>
              </a:rPr>
              <a:t>Sponsor</a:t>
            </a:r>
          </a:p>
          <a:p>
            <a:pPr algn="ctr"/>
            <a:r>
              <a:rPr lang="fr-FR" b="1" dirty="0" err="1">
                <a:latin typeface="Garamond" pitchFamily="18" charset="0"/>
              </a:rPr>
              <a:t>target</a:t>
            </a:r>
            <a:endParaRPr lang="fr-FR" b="1" dirty="0">
              <a:latin typeface="Garamond" pitchFamily="18" charset="0"/>
            </a:endParaRPr>
          </a:p>
        </p:txBody>
      </p:sp>
      <p:sp>
        <p:nvSpPr>
          <p:cNvPr id="11" name="Oval 9"/>
          <p:cNvSpPr>
            <a:spLocks noChangeArrowheads="1"/>
          </p:cNvSpPr>
          <p:nvPr/>
        </p:nvSpPr>
        <p:spPr bwMode="auto">
          <a:xfrm>
            <a:off x="6004193" y="5212528"/>
            <a:ext cx="1152525" cy="1052512"/>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b="1" dirty="0" err="1">
                <a:latin typeface="Garamond" pitchFamily="18" charset="0"/>
              </a:rPr>
              <a:t>Sponsored</a:t>
            </a:r>
            <a:endParaRPr lang="fr-FR" b="1" dirty="0">
              <a:latin typeface="Garamond" pitchFamily="18" charset="0"/>
            </a:endParaRPr>
          </a:p>
          <a:p>
            <a:pPr algn="ctr"/>
            <a:r>
              <a:rPr lang="fr-FR" b="1" dirty="0">
                <a:latin typeface="Garamond" pitchFamily="18" charset="0"/>
              </a:rPr>
              <a:t>Target</a:t>
            </a:r>
          </a:p>
        </p:txBody>
      </p:sp>
      <p:sp>
        <p:nvSpPr>
          <p:cNvPr id="12" name="Text Box 10"/>
          <p:cNvSpPr txBox="1">
            <a:spLocks noChangeArrowheads="1"/>
          </p:cNvSpPr>
          <p:nvPr/>
        </p:nvSpPr>
        <p:spPr bwMode="auto">
          <a:xfrm>
            <a:off x="5643831" y="6403153"/>
            <a:ext cx="107950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fr-FR" b="1">
                <a:latin typeface="Garamond" pitchFamily="18" charset="0"/>
              </a:rPr>
              <a:t>PUBLIC</a:t>
            </a:r>
          </a:p>
        </p:txBody>
      </p:sp>
      <p:sp>
        <p:nvSpPr>
          <p:cNvPr id="13" name="Rectangle 11"/>
          <p:cNvSpPr>
            <a:spLocks noChangeArrowheads="1"/>
          </p:cNvSpPr>
          <p:nvPr/>
        </p:nvSpPr>
        <p:spPr bwMode="auto">
          <a:xfrm>
            <a:off x="4924693" y="5141090"/>
            <a:ext cx="2374900" cy="16287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14" name="Freeform 12"/>
          <p:cNvSpPr>
            <a:spLocks/>
          </p:cNvSpPr>
          <p:nvPr/>
        </p:nvSpPr>
        <p:spPr bwMode="auto">
          <a:xfrm>
            <a:off x="4059506" y="892940"/>
            <a:ext cx="3529012" cy="360363"/>
          </a:xfrm>
          <a:custGeom>
            <a:avLst/>
            <a:gdLst>
              <a:gd name="T0" fmla="*/ 0 w 2223"/>
              <a:gd name="T1" fmla="*/ 572077056 h 227"/>
              <a:gd name="T2" fmla="*/ 2147483647 w 2223"/>
              <a:gd name="T3" fmla="*/ 0 h 227"/>
              <a:gd name="T4" fmla="*/ 2147483647 w 2223"/>
              <a:gd name="T5" fmla="*/ 572077056 h 227"/>
              <a:gd name="T6" fmla="*/ 0 60000 65536"/>
              <a:gd name="T7" fmla="*/ 0 60000 65536"/>
              <a:gd name="T8" fmla="*/ 0 60000 65536"/>
            </a:gdLst>
            <a:ahLst/>
            <a:cxnLst>
              <a:cxn ang="T6">
                <a:pos x="T0" y="T1"/>
              </a:cxn>
              <a:cxn ang="T7">
                <a:pos x="T2" y="T3"/>
              </a:cxn>
              <a:cxn ang="T8">
                <a:pos x="T4" y="T5"/>
              </a:cxn>
            </a:cxnLst>
            <a:rect l="0" t="0" r="r" b="b"/>
            <a:pathLst>
              <a:path w="2223" h="227">
                <a:moveTo>
                  <a:pt x="0" y="227"/>
                </a:moveTo>
                <a:cubicBezTo>
                  <a:pt x="359" y="113"/>
                  <a:pt x="719" y="0"/>
                  <a:pt x="1089" y="0"/>
                </a:cubicBezTo>
                <a:cubicBezTo>
                  <a:pt x="1459" y="0"/>
                  <a:pt x="2034" y="189"/>
                  <a:pt x="2223" y="227"/>
                </a:cubicBezTo>
              </a:path>
            </a:pathLst>
          </a:custGeom>
          <a:noFill/>
          <a:ln w="9525">
            <a:solidFill>
              <a:schemeClr val="tx1"/>
            </a:solidFill>
            <a:round/>
            <a:headEnd/>
            <a:tailEnd type="stealth"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5" name="Freeform 13"/>
          <p:cNvSpPr>
            <a:spLocks/>
          </p:cNvSpPr>
          <p:nvPr/>
        </p:nvSpPr>
        <p:spPr bwMode="auto">
          <a:xfrm>
            <a:off x="3772168" y="3556765"/>
            <a:ext cx="3960813" cy="360363"/>
          </a:xfrm>
          <a:custGeom>
            <a:avLst/>
            <a:gdLst>
              <a:gd name="T0" fmla="*/ 2147483647 w 2585"/>
              <a:gd name="T1" fmla="*/ 0 h 227"/>
              <a:gd name="T2" fmla="*/ 2147483647 w 2585"/>
              <a:gd name="T3" fmla="*/ 572077056 h 227"/>
              <a:gd name="T4" fmla="*/ 0 w 2585"/>
              <a:gd name="T5" fmla="*/ 0 h 227"/>
              <a:gd name="T6" fmla="*/ 0 60000 65536"/>
              <a:gd name="T7" fmla="*/ 0 60000 65536"/>
              <a:gd name="T8" fmla="*/ 0 60000 65536"/>
            </a:gdLst>
            <a:ahLst/>
            <a:cxnLst>
              <a:cxn ang="T6">
                <a:pos x="T0" y="T1"/>
              </a:cxn>
              <a:cxn ang="T7">
                <a:pos x="T2" y="T3"/>
              </a:cxn>
              <a:cxn ang="T8">
                <a:pos x="T4" y="T5"/>
              </a:cxn>
            </a:cxnLst>
            <a:rect l="0" t="0" r="r" b="b"/>
            <a:pathLst>
              <a:path w="2585" h="227">
                <a:moveTo>
                  <a:pt x="2585" y="0"/>
                </a:moveTo>
                <a:cubicBezTo>
                  <a:pt x="2211" y="113"/>
                  <a:pt x="1837" y="227"/>
                  <a:pt x="1406" y="227"/>
                </a:cubicBezTo>
                <a:cubicBezTo>
                  <a:pt x="975" y="227"/>
                  <a:pt x="234" y="38"/>
                  <a:pt x="0" y="0"/>
                </a:cubicBezTo>
              </a:path>
            </a:pathLst>
          </a:custGeom>
          <a:noFill/>
          <a:ln w="9525">
            <a:solidFill>
              <a:schemeClr val="tx1"/>
            </a:solidFill>
            <a:round/>
            <a:headEnd/>
            <a:tailEnd type="stealth"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Tree>
    <p:extLst>
      <p:ext uri="{BB962C8B-B14F-4D97-AF65-F5344CB8AC3E}">
        <p14:creationId xmlns:p14="http://schemas.microsoft.com/office/powerpoint/2010/main" val="21192461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247" name="Rectangle 10246">
            <a:extLst>
              <a:ext uri="{FF2B5EF4-FFF2-40B4-BE49-F238E27FC236}">
                <a16:creationId xmlns:a16="http://schemas.microsoft.com/office/drawing/2014/main" id="{2C61293E-6EBE-43EF-A52C-9BEBFD7679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p:cNvSpPr>
            <a:spLocks noGrp="1"/>
          </p:cNvSpPr>
          <p:nvPr>
            <p:ph type="title"/>
          </p:nvPr>
        </p:nvSpPr>
        <p:spPr>
          <a:xfrm>
            <a:off x="5297762" y="329184"/>
            <a:ext cx="6251110" cy="1783080"/>
          </a:xfrm>
        </p:spPr>
        <p:txBody>
          <a:bodyPr anchor="b">
            <a:normAutofit/>
          </a:bodyPr>
          <a:lstStyle/>
          <a:p>
            <a:r>
              <a:rPr lang="fr-FR" sz="5400" b="1"/>
              <a:t>Sponsorship strategic approaches</a:t>
            </a:r>
          </a:p>
        </p:txBody>
      </p:sp>
      <p:pic>
        <p:nvPicPr>
          <p:cNvPr id="10242" name="Picture 2" descr="Robert Louis-Dreyfus est mort. - LeBlogTVNews">
            <a:extLst>
              <a:ext uri="{FF2B5EF4-FFF2-40B4-BE49-F238E27FC236}">
                <a16:creationId xmlns:a16="http://schemas.microsoft.com/office/drawing/2014/main" id="{D212FD5D-D12E-995F-F61D-FB86AD939AA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60"/>
          <a:stretch/>
        </p:blipFill>
        <p:spPr bwMode="auto">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
        <p:nvSpPr>
          <p:cNvPr id="10249" name="sketchy line">
            <a:extLst>
              <a:ext uri="{FF2B5EF4-FFF2-40B4-BE49-F238E27FC236}">
                <a16:creationId xmlns:a16="http://schemas.microsoft.com/office/drawing/2014/main" id="{21540236-BFD5-4A9D-8840-4703E7F768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97762" y="2374947"/>
            <a:ext cx="4243589" cy="18288"/>
          </a:xfrm>
          <a:custGeom>
            <a:avLst/>
            <a:gdLst>
              <a:gd name="connsiteX0" fmla="*/ 0 w 4243589"/>
              <a:gd name="connsiteY0" fmla="*/ 0 h 18288"/>
              <a:gd name="connsiteX1" fmla="*/ 478919 w 4243589"/>
              <a:gd name="connsiteY1" fmla="*/ 0 h 18288"/>
              <a:gd name="connsiteX2" fmla="*/ 957839 w 4243589"/>
              <a:gd name="connsiteY2" fmla="*/ 0 h 18288"/>
              <a:gd name="connsiteX3" fmla="*/ 1521630 w 4243589"/>
              <a:gd name="connsiteY3" fmla="*/ 0 h 18288"/>
              <a:gd name="connsiteX4" fmla="*/ 2212729 w 4243589"/>
              <a:gd name="connsiteY4" fmla="*/ 0 h 18288"/>
              <a:gd name="connsiteX5" fmla="*/ 2734084 w 4243589"/>
              <a:gd name="connsiteY5" fmla="*/ 0 h 18288"/>
              <a:gd name="connsiteX6" fmla="*/ 3255439 w 4243589"/>
              <a:gd name="connsiteY6" fmla="*/ 0 h 18288"/>
              <a:gd name="connsiteX7" fmla="*/ 4243589 w 4243589"/>
              <a:gd name="connsiteY7" fmla="*/ 0 h 18288"/>
              <a:gd name="connsiteX8" fmla="*/ 4243589 w 4243589"/>
              <a:gd name="connsiteY8" fmla="*/ 18288 h 18288"/>
              <a:gd name="connsiteX9" fmla="*/ 3594926 w 4243589"/>
              <a:gd name="connsiteY9" fmla="*/ 18288 h 18288"/>
              <a:gd name="connsiteX10" fmla="*/ 3073571 w 4243589"/>
              <a:gd name="connsiteY10" fmla="*/ 18288 h 18288"/>
              <a:gd name="connsiteX11" fmla="*/ 2552216 w 4243589"/>
              <a:gd name="connsiteY11" fmla="*/ 18288 h 18288"/>
              <a:gd name="connsiteX12" fmla="*/ 1903553 w 4243589"/>
              <a:gd name="connsiteY12" fmla="*/ 18288 h 18288"/>
              <a:gd name="connsiteX13" fmla="*/ 1212454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213395" y="-21006"/>
                  <a:pt x="307421" y="-18116"/>
                  <a:pt x="478919" y="0"/>
                </a:cubicBezTo>
                <a:cubicBezTo>
                  <a:pt x="650417" y="18116"/>
                  <a:pt x="831092" y="-21237"/>
                  <a:pt x="957839" y="0"/>
                </a:cubicBezTo>
                <a:cubicBezTo>
                  <a:pt x="1084586" y="21237"/>
                  <a:pt x="1301682" y="25124"/>
                  <a:pt x="1521630" y="0"/>
                </a:cubicBezTo>
                <a:cubicBezTo>
                  <a:pt x="1741578" y="-25124"/>
                  <a:pt x="1970269" y="-29139"/>
                  <a:pt x="2212729" y="0"/>
                </a:cubicBezTo>
                <a:cubicBezTo>
                  <a:pt x="2455189" y="29139"/>
                  <a:pt x="2558847" y="-4796"/>
                  <a:pt x="2734084" y="0"/>
                </a:cubicBezTo>
                <a:cubicBezTo>
                  <a:pt x="2909321" y="4796"/>
                  <a:pt x="3097217" y="-13409"/>
                  <a:pt x="3255439" y="0"/>
                </a:cubicBezTo>
                <a:cubicBezTo>
                  <a:pt x="3413662" y="13409"/>
                  <a:pt x="3979999" y="-10121"/>
                  <a:pt x="4243589" y="0"/>
                </a:cubicBezTo>
                <a:cubicBezTo>
                  <a:pt x="4244484" y="8974"/>
                  <a:pt x="4243043" y="9359"/>
                  <a:pt x="4243589" y="18288"/>
                </a:cubicBezTo>
                <a:cubicBezTo>
                  <a:pt x="4058777" y="31246"/>
                  <a:pt x="3910348" y="3158"/>
                  <a:pt x="3594926" y="18288"/>
                </a:cubicBezTo>
                <a:cubicBezTo>
                  <a:pt x="3279504" y="33418"/>
                  <a:pt x="3319955" y="-3977"/>
                  <a:pt x="3073571" y="18288"/>
                </a:cubicBezTo>
                <a:cubicBezTo>
                  <a:pt x="2827187" y="40553"/>
                  <a:pt x="2767387" y="1863"/>
                  <a:pt x="2552216" y="18288"/>
                </a:cubicBezTo>
                <a:cubicBezTo>
                  <a:pt x="2337046" y="34713"/>
                  <a:pt x="2181871" y="19527"/>
                  <a:pt x="1903553" y="18288"/>
                </a:cubicBezTo>
                <a:cubicBezTo>
                  <a:pt x="1625235" y="17049"/>
                  <a:pt x="1557672" y="24174"/>
                  <a:pt x="1212454" y="18288"/>
                </a:cubicBezTo>
                <a:cubicBezTo>
                  <a:pt x="867236" y="12402"/>
                  <a:pt x="874382" y="15627"/>
                  <a:pt x="733535" y="18288"/>
                </a:cubicBezTo>
                <a:cubicBezTo>
                  <a:pt x="592688" y="20949"/>
                  <a:pt x="183477" y="14753"/>
                  <a:pt x="0" y="18288"/>
                </a:cubicBezTo>
                <a:cubicBezTo>
                  <a:pt x="-229" y="14222"/>
                  <a:pt x="509" y="5816"/>
                  <a:pt x="0" y="0"/>
                </a:cubicBezTo>
                <a:close/>
              </a:path>
              <a:path w="4243589" h="18288" stroke="0" extrusionOk="0">
                <a:moveTo>
                  <a:pt x="0" y="0"/>
                </a:moveTo>
                <a:cubicBezTo>
                  <a:pt x="143690" y="16630"/>
                  <a:pt x="266667" y="14847"/>
                  <a:pt x="521355" y="0"/>
                </a:cubicBezTo>
                <a:cubicBezTo>
                  <a:pt x="776043" y="-14847"/>
                  <a:pt x="814491" y="-17363"/>
                  <a:pt x="1000275" y="0"/>
                </a:cubicBezTo>
                <a:cubicBezTo>
                  <a:pt x="1186059" y="17363"/>
                  <a:pt x="1352504" y="-23507"/>
                  <a:pt x="1521630" y="0"/>
                </a:cubicBezTo>
                <a:cubicBezTo>
                  <a:pt x="1690756" y="23507"/>
                  <a:pt x="1889525" y="5871"/>
                  <a:pt x="2127857" y="0"/>
                </a:cubicBezTo>
                <a:cubicBezTo>
                  <a:pt x="2366189" y="-5871"/>
                  <a:pt x="2620628" y="-27997"/>
                  <a:pt x="2776520" y="0"/>
                </a:cubicBezTo>
                <a:cubicBezTo>
                  <a:pt x="2932412" y="27997"/>
                  <a:pt x="3131683" y="-25073"/>
                  <a:pt x="3467618" y="0"/>
                </a:cubicBezTo>
                <a:cubicBezTo>
                  <a:pt x="3803553" y="25073"/>
                  <a:pt x="4017371" y="3071"/>
                  <a:pt x="4243589" y="0"/>
                </a:cubicBezTo>
                <a:cubicBezTo>
                  <a:pt x="4243134" y="6162"/>
                  <a:pt x="4243492" y="11775"/>
                  <a:pt x="4243589" y="18288"/>
                </a:cubicBezTo>
                <a:cubicBezTo>
                  <a:pt x="4017834" y="-5779"/>
                  <a:pt x="3834586" y="13376"/>
                  <a:pt x="3594926" y="18288"/>
                </a:cubicBezTo>
                <a:cubicBezTo>
                  <a:pt x="3355266" y="23200"/>
                  <a:pt x="3204179" y="2869"/>
                  <a:pt x="2903827" y="18288"/>
                </a:cubicBezTo>
                <a:cubicBezTo>
                  <a:pt x="2603475" y="33707"/>
                  <a:pt x="2526187" y="46187"/>
                  <a:pt x="2212729" y="18288"/>
                </a:cubicBezTo>
                <a:cubicBezTo>
                  <a:pt x="1899271" y="-9611"/>
                  <a:pt x="1966289" y="29692"/>
                  <a:pt x="1733809" y="18288"/>
                </a:cubicBezTo>
                <a:cubicBezTo>
                  <a:pt x="1501329" y="6884"/>
                  <a:pt x="1343612" y="12492"/>
                  <a:pt x="1085146" y="18288"/>
                </a:cubicBezTo>
                <a:cubicBezTo>
                  <a:pt x="826680" y="24084"/>
                  <a:pt x="778184" y="35607"/>
                  <a:pt x="521355" y="18288"/>
                </a:cubicBezTo>
                <a:cubicBezTo>
                  <a:pt x="264526" y="969"/>
                  <a:pt x="120277" y="4268"/>
                  <a:pt x="0" y="18288"/>
                </a:cubicBezTo>
                <a:cubicBezTo>
                  <a:pt x="766" y="10800"/>
                  <a:pt x="-457" y="8180"/>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Espace réservé du contenu 2">
            <a:extLst>
              <a:ext uri="{FF2B5EF4-FFF2-40B4-BE49-F238E27FC236}">
                <a16:creationId xmlns:a16="http://schemas.microsoft.com/office/drawing/2014/main" id="{0694BE5F-DEA2-44FE-863B-8DB3800CAD96}"/>
              </a:ext>
            </a:extLst>
          </p:cNvPr>
          <p:cNvGraphicFramePr>
            <a:graphicFrameLocks noGrp="1"/>
          </p:cNvGraphicFramePr>
          <p:nvPr>
            <p:ph idx="1"/>
            <p:extLst>
              <p:ext uri="{D42A27DB-BD31-4B8C-83A1-F6EECF244321}">
                <p14:modId xmlns:p14="http://schemas.microsoft.com/office/powerpoint/2010/main" val="1109508855"/>
              </p:ext>
            </p:extLst>
          </p:nvPr>
        </p:nvGraphicFramePr>
        <p:xfrm>
          <a:off x="5297762" y="2706624"/>
          <a:ext cx="6251110" cy="34838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2887382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Imag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63859" y="643466"/>
            <a:ext cx="5864281" cy="5571067"/>
          </a:xfrm>
          <a:prstGeom prst="rect">
            <a:avLst/>
          </a:prstGeom>
        </p:spPr>
      </p:pic>
    </p:spTree>
    <p:extLst>
      <p:ext uri="{BB962C8B-B14F-4D97-AF65-F5344CB8AC3E}">
        <p14:creationId xmlns:p14="http://schemas.microsoft.com/office/powerpoint/2010/main" val="4873927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743AA782-23D1-4521-8CAD-47662984AA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p:cNvSpPr>
            <a:spLocks noGrp="1"/>
          </p:cNvSpPr>
          <p:nvPr>
            <p:ph type="title"/>
          </p:nvPr>
        </p:nvSpPr>
        <p:spPr>
          <a:xfrm>
            <a:off x="630936" y="640080"/>
            <a:ext cx="4818888" cy="1481328"/>
          </a:xfrm>
        </p:spPr>
        <p:txBody>
          <a:bodyPr anchor="b">
            <a:normAutofit/>
          </a:bodyPr>
          <a:lstStyle/>
          <a:p>
            <a:r>
              <a:rPr lang="fr-FR" sz="5400" b="1"/>
              <a:t>In the real world</a:t>
            </a:r>
          </a:p>
        </p:txBody>
      </p:sp>
      <p:sp>
        <p:nvSpPr>
          <p:cNvPr id="11" name="sketch line">
            <a:extLst>
              <a:ext uri="{FF2B5EF4-FFF2-40B4-BE49-F238E27FC236}">
                <a16:creationId xmlns:a16="http://schemas.microsoft.com/office/drawing/2014/main" id="{71877DBC-BB60-40F0-AC93-2ACDBAAE60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372868"/>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Espace réservé du contenu 2"/>
          <p:cNvSpPr>
            <a:spLocks noGrp="1"/>
          </p:cNvSpPr>
          <p:nvPr>
            <p:ph idx="1"/>
          </p:nvPr>
        </p:nvSpPr>
        <p:spPr>
          <a:xfrm>
            <a:off x="630936" y="2660904"/>
            <a:ext cx="4818888" cy="3547872"/>
          </a:xfrm>
        </p:spPr>
        <p:txBody>
          <a:bodyPr anchor="t">
            <a:normAutofit/>
          </a:bodyPr>
          <a:lstStyle/>
          <a:p>
            <a:r>
              <a:rPr lang="fr-FR" sz="2000">
                <a:sym typeface="Wingdings" panose="05000000000000000000" pitchFamily="2" charset="2"/>
              </a:rPr>
              <a:t> </a:t>
            </a:r>
            <a:r>
              <a:rPr lang="fr-FR" sz="2000"/>
              <a:t>75 % : Executive meeting and individual introducing</a:t>
            </a:r>
          </a:p>
          <a:p>
            <a:endParaRPr lang="fr-FR" sz="2000"/>
          </a:p>
          <a:p>
            <a:pPr>
              <a:buFont typeface="Courier New" panose="02070309020205020404" pitchFamily="49" charset="0"/>
              <a:buChar char="o"/>
            </a:pPr>
            <a:r>
              <a:rPr lang="fr-FR" sz="2000"/>
              <a:t>2 personalities </a:t>
            </a:r>
          </a:p>
          <a:p>
            <a:pPr>
              <a:buFont typeface="Courier New" panose="02070309020205020404" pitchFamily="49" charset="0"/>
              <a:buChar char="o"/>
            </a:pPr>
            <a:r>
              <a:rPr lang="fr-FR" sz="2000"/>
              <a:t>Actor games</a:t>
            </a:r>
          </a:p>
          <a:p>
            <a:pPr>
              <a:buFont typeface="Courier New" panose="02070309020205020404" pitchFamily="49" charset="0"/>
              <a:buChar char="o"/>
            </a:pPr>
            <a:r>
              <a:rPr lang="fr-FR" sz="2000"/>
              <a:t>Serendipity capability </a:t>
            </a:r>
          </a:p>
          <a:p>
            <a:endParaRPr lang="fr-FR" sz="2000"/>
          </a:p>
          <a:p>
            <a:r>
              <a:rPr lang="fr-FR" sz="2000">
                <a:sym typeface="Wingdings" panose="05000000000000000000" pitchFamily="2" charset="2"/>
              </a:rPr>
              <a:t> </a:t>
            </a:r>
            <a:r>
              <a:rPr lang="fr-FR" sz="2000"/>
              <a:t>25 % strategic process / brand strategic management </a:t>
            </a:r>
          </a:p>
        </p:txBody>
      </p:sp>
      <p:pic>
        <p:nvPicPr>
          <p:cNvPr id="4" name="Image 3"/>
          <p:cNvPicPr>
            <a:picLocks noChangeAspect="1"/>
          </p:cNvPicPr>
          <p:nvPr/>
        </p:nvPicPr>
        <p:blipFill rotWithShape="1">
          <a:blip r:embed="rId2">
            <a:extLst>
              <a:ext uri="{28A0092B-C50C-407E-A947-70E740481C1C}">
                <a14:useLocalDpi xmlns:a14="http://schemas.microsoft.com/office/drawing/2010/main" val="0"/>
              </a:ext>
            </a:extLst>
          </a:blip>
          <a:srcRect l="284" r="800"/>
          <a:stretch/>
        </p:blipFill>
        <p:spPr>
          <a:xfrm>
            <a:off x="6966417" y="640080"/>
            <a:ext cx="3724230" cy="5577840"/>
          </a:xfrm>
          <a:prstGeom prst="rect">
            <a:avLst/>
          </a:prstGeom>
          <a:scene3d>
            <a:camera prst="perspectiveContrastingLeftFacing">
              <a:rot lat="300000" lon="19800000" rev="0"/>
            </a:camera>
            <a:lightRig rig="threePt" dir="t">
              <a:rot lat="0" lon="0" rev="2700000"/>
            </a:lightRig>
          </a:scene3d>
          <a:sp3d>
            <a:bevelT w="63500" h="50800"/>
          </a:sp3d>
        </p:spPr>
      </p:pic>
    </p:spTree>
    <p:extLst>
      <p:ext uri="{BB962C8B-B14F-4D97-AF65-F5344CB8AC3E}">
        <p14:creationId xmlns:p14="http://schemas.microsoft.com/office/powerpoint/2010/main" val="32985698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B761509-3B9A-49A6-A84B-C3D8681169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997"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1" name="Freeform: Shape 10">
            <a:extLst>
              <a:ext uri="{FF2B5EF4-FFF2-40B4-BE49-F238E27FC236}">
                <a16:creationId xmlns:a16="http://schemas.microsoft.com/office/drawing/2014/main" id="{91DE43FD-EB47-414A-B0AB-169B0FFFA52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272922" cy="6858000"/>
          </a:xfrm>
          <a:custGeom>
            <a:avLst/>
            <a:gdLst>
              <a:gd name="connsiteX0" fmla="*/ 0 w 9272922"/>
              <a:gd name="connsiteY0" fmla="*/ 0 h 6858000"/>
              <a:gd name="connsiteX1" fmla="*/ 1733417 w 9272922"/>
              <a:gd name="connsiteY1" fmla="*/ 0 h 6858000"/>
              <a:gd name="connsiteX2" fmla="*/ 3307976 w 9272922"/>
              <a:gd name="connsiteY2" fmla="*/ 0 h 6858000"/>
              <a:gd name="connsiteX3" fmla="*/ 8126249 w 9272922"/>
              <a:gd name="connsiteY3" fmla="*/ 0 h 6858000"/>
              <a:gd name="connsiteX4" fmla="*/ 8138896 w 9272922"/>
              <a:gd name="connsiteY4" fmla="*/ 31774 h 6858000"/>
              <a:gd name="connsiteX5" fmla="*/ 9193904 w 9272922"/>
              <a:gd name="connsiteY5" fmla="*/ 2682457 h 6858000"/>
              <a:gd name="connsiteX6" fmla="*/ 9193904 w 9272922"/>
              <a:gd name="connsiteY6" fmla="*/ 3752208 h 6858000"/>
              <a:gd name="connsiteX7" fmla="*/ 8036400 w 9272922"/>
              <a:gd name="connsiteY7" fmla="*/ 6660411 h 6858000"/>
              <a:gd name="connsiteX8" fmla="*/ 7957938 w 9272922"/>
              <a:gd name="connsiteY8" fmla="*/ 6857542 h 6858000"/>
              <a:gd name="connsiteX9" fmla="*/ 3307976 w 9272922"/>
              <a:gd name="connsiteY9" fmla="*/ 6857542 h 6858000"/>
              <a:gd name="connsiteX10" fmla="*/ 3307976 w 9272922"/>
              <a:gd name="connsiteY10" fmla="*/ 6858000 h 6858000"/>
              <a:gd name="connsiteX11" fmla="*/ 0 w 9272922"/>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72922" h="6858000">
                <a:moveTo>
                  <a:pt x="0" y="0"/>
                </a:moveTo>
                <a:lnTo>
                  <a:pt x="1733417" y="0"/>
                </a:lnTo>
                <a:lnTo>
                  <a:pt x="3307976" y="0"/>
                </a:lnTo>
                <a:lnTo>
                  <a:pt x="8126249" y="0"/>
                </a:lnTo>
                <a:lnTo>
                  <a:pt x="8138896" y="31774"/>
                </a:lnTo>
                <a:cubicBezTo>
                  <a:pt x="9193904" y="2682457"/>
                  <a:pt x="9193904" y="2682457"/>
                  <a:pt x="9193904" y="2682457"/>
                </a:cubicBezTo>
                <a:cubicBezTo>
                  <a:pt x="9299262" y="2988100"/>
                  <a:pt x="9299262" y="3446565"/>
                  <a:pt x="9193904" y="3752208"/>
                </a:cubicBezTo>
                <a:cubicBezTo>
                  <a:pt x="8709916" y="4968215"/>
                  <a:pt x="8331802" y="5918220"/>
                  <a:pt x="8036400" y="6660411"/>
                </a:cubicBezTo>
                <a:lnTo>
                  <a:pt x="7957938" y="6857542"/>
                </a:lnTo>
                <a:lnTo>
                  <a:pt x="3307976" y="6857542"/>
                </a:lnTo>
                <a:lnTo>
                  <a:pt x="3307976" y="6858000"/>
                </a:lnTo>
                <a:lnTo>
                  <a:pt x="0" y="68580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Imag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3467" y="783911"/>
            <a:ext cx="7047923" cy="5285942"/>
          </a:xfrm>
          <a:prstGeom prst="rect">
            <a:avLst/>
          </a:prstGeom>
          <a:solidFill>
            <a:srgbClr val="FFFFFF">
              <a:shade val="85000"/>
            </a:srgbClr>
          </a:solidFill>
        </p:spPr>
      </p:pic>
      <p:grpSp>
        <p:nvGrpSpPr>
          <p:cNvPr id="13" name="Group 12">
            <a:extLst>
              <a:ext uri="{FF2B5EF4-FFF2-40B4-BE49-F238E27FC236}">
                <a16:creationId xmlns:a16="http://schemas.microsoft.com/office/drawing/2014/main" id="{58495BCC-CE77-4CC2-952E-846F41119FD5}"/>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9160561" y="1075188"/>
            <a:ext cx="1562267" cy="1172973"/>
            <a:chOff x="9160561" y="1075188"/>
            <a:chExt cx="1562267" cy="1172973"/>
          </a:xfrm>
        </p:grpSpPr>
        <p:sp>
          <p:nvSpPr>
            <p:cNvPr id="14" name="Freeform 5">
              <a:extLst>
                <a:ext uri="{FF2B5EF4-FFF2-40B4-BE49-F238E27FC236}">
                  <a16:creationId xmlns:a16="http://schemas.microsoft.com/office/drawing/2014/main" id="{1B42538B-E30F-4967-A6C1-8EBA775F4D6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9160561" y="1423846"/>
              <a:ext cx="935037" cy="824315"/>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15" name="Freeform 5">
              <a:extLst>
                <a:ext uri="{FF2B5EF4-FFF2-40B4-BE49-F238E27FC236}">
                  <a16:creationId xmlns:a16="http://schemas.microsoft.com/office/drawing/2014/main" id="{9A6BD9AC-4DE7-4B20-8547-4E3B375C21F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9960661" y="1075188"/>
              <a:ext cx="762167" cy="671915"/>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bg1"/>
              </a:solid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809563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ctr"/>
            <a:r>
              <a:rPr lang="fr-FR" b="1" dirty="0" err="1"/>
              <a:t>Mega</a:t>
            </a:r>
            <a:r>
              <a:rPr lang="fr-FR" b="1" dirty="0"/>
              <a:t> </a:t>
            </a:r>
            <a:r>
              <a:rPr lang="fr-FR" b="1" dirty="0" err="1"/>
              <a:t>event</a:t>
            </a:r>
            <a:r>
              <a:rPr lang="fr-FR" b="1" dirty="0"/>
              <a:t> &amp; the </a:t>
            </a:r>
            <a:r>
              <a:rPr lang="fr-FR" b="1" dirty="0" err="1"/>
              <a:t>rest</a:t>
            </a:r>
            <a:endParaRPr lang="fr-FR" b="1" dirty="0"/>
          </a:p>
        </p:txBody>
      </p:sp>
      <p:sp>
        <p:nvSpPr>
          <p:cNvPr id="4" name="Ellipse 3"/>
          <p:cNvSpPr/>
          <p:nvPr/>
        </p:nvSpPr>
        <p:spPr>
          <a:xfrm>
            <a:off x="171032" y="2941504"/>
            <a:ext cx="3789802" cy="24347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err="1"/>
              <a:t>Demand</a:t>
            </a:r>
            <a:r>
              <a:rPr lang="fr-FR" b="1" dirty="0"/>
              <a:t> &gt; </a:t>
            </a:r>
            <a:r>
              <a:rPr lang="fr-FR" b="1" dirty="0" err="1"/>
              <a:t>Supply</a:t>
            </a:r>
            <a:endParaRPr lang="fr-FR" b="1" dirty="0"/>
          </a:p>
          <a:p>
            <a:pPr algn="ctr"/>
            <a:endParaRPr lang="fr-FR" dirty="0"/>
          </a:p>
          <a:p>
            <a:pPr algn="ctr"/>
            <a:r>
              <a:rPr lang="fr-FR" dirty="0"/>
              <a:t>Best clubs and </a:t>
            </a:r>
            <a:r>
              <a:rPr lang="fr-FR" dirty="0" err="1"/>
              <a:t>events</a:t>
            </a:r>
            <a:endParaRPr lang="fr-FR" dirty="0"/>
          </a:p>
          <a:p>
            <a:pPr algn="ctr"/>
            <a:r>
              <a:rPr lang="fr-FR" dirty="0"/>
              <a:t>Sponsor </a:t>
            </a:r>
            <a:r>
              <a:rPr lang="fr-FR" dirty="0" err="1"/>
              <a:t>selection</a:t>
            </a:r>
            <a:r>
              <a:rPr lang="fr-FR" dirty="0"/>
              <a:t> </a:t>
            </a:r>
          </a:p>
          <a:p>
            <a:pPr algn="ctr"/>
            <a:r>
              <a:rPr lang="fr-FR" dirty="0"/>
              <a:t>Financial </a:t>
            </a:r>
            <a:r>
              <a:rPr lang="fr-FR" dirty="0" err="1"/>
              <a:t>optimization</a:t>
            </a:r>
            <a:endParaRPr lang="fr-FR" dirty="0"/>
          </a:p>
          <a:p>
            <a:pPr algn="ctr"/>
            <a:r>
              <a:rPr lang="fr-FR" dirty="0"/>
              <a:t>Open call - </a:t>
            </a:r>
            <a:r>
              <a:rPr lang="fr-FR" dirty="0" err="1"/>
              <a:t>closing</a:t>
            </a:r>
            <a:endParaRPr lang="fr-FR" dirty="0"/>
          </a:p>
        </p:txBody>
      </p:sp>
      <p:sp>
        <p:nvSpPr>
          <p:cNvPr id="5" name="Ellipse 4"/>
          <p:cNvSpPr/>
          <p:nvPr/>
        </p:nvSpPr>
        <p:spPr>
          <a:xfrm>
            <a:off x="7974376" y="2918380"/>
            <a:ext cx="3789802" cy="24347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err="1"/>
              <a:t>Demand</a:t>
            </a:r>
            <a:r>
              <a:rPr lang="fr-FR" b="1" dirty="0"/>
              <a:t> &lt; </a:t>
            </a:r>
            <a:r>
              <a:rPr lang="fr-FR" b="1" dirty="0" err="1"/>
              <a:t>Supply</a:t>
            </a:r>
            <a:endParaRPr lang="fr-FR" b="1" dirty="0"/>
          </a:p>
          <a:p>
            <a:pPr algn="ctr"/>
            <a:endParaRPr lang="fr-FR" dirty="0"/>
          </a:p>
          <a:p>
            <a:pPr algn="ctr"/>
            <a:r>
              <a:rPr lang="fr-FR" dirty="0" err="1"/>
              <a:t>Others</a:t>
            </a:r>
            <a:r>
              <a:rPr lang="fr-FR" dirty="0"/>
              <a:t> clubs and </a:t>
            </a:r>
            <a:r>
              <a:rPr lang="fr-FR" dirty="0" err="1"/>
              <a:t>events</a:t>
            </a:r>
            <a:endParaRPr lang="fr-FR" dirty="0"/>
          </a:p>
          <a:p>
            <a:pPr algn="ctr"/>
            <a:r>
              <a:rPr lang="fr-FR" dirty="0" err="1"/>
              <a:t>Customization</a:t>
            </a:r>
            <a:endParaRPr lang="fr-FR" dirty="0"/>
          </a:p>
          <a:p>
            <a:pPr algn="ctr"/>
            <a:r>
              <a:rPr lang="fr-FR" dirty="0"/>
              <a:t>Prospect </a:t>
            </a:r>
          </a:p>
          <a:p>
            <a:pPr algn="ctr"/>
            <a:r>
              <a:rPr lang="fr-FR" dirty="0" err="1"/>
              <a:t>Introducing</a:t>
            </a:r>
            <a:r>
              <a:rPr lang="fr-FR" dirty="0"/>
              <a:t> + </a:t>
            </a:r>
            <a:r>
              <a:rPr lang="fr-FR" dirty="0" err="1"/>
              <a:t>closing</a:t>
            </a:r>
            <a:r>
              <a:rPr lang="fr-FR" dirty="0"/>
              <a:t> </a:t>
            </a:r>
          </a:p>
        </p:txBody>
      </p:sp>
      <p:pic>
        <p:nvPicPr>
          <p:cNvPr id="6" name="Imag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74545" y="3105665"/>
            <a:ext cx="3322882" cy="2049111"/>
          </a:xfrm>
          <a:prstGeom prst="rect">
            <a:avLst/>
          </a:prstGeom>
        </p:spPr>
      </p:pic>
    </p:spTree>
    <p:extLst>
      <p:ext uri="{BB962C8B-B14F-4D97-AF65-F5344CB8AC3E}">
        <p14:creationId xmlns:p14="http://schemas.microsoft.com/office/powerpoint/2010/main" val="10321947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a:xfrm>
            <a:off x="1746173" y="277813"/>
            <a:ext cx="8229600" cy="487362"/>
          </a:xfrm>
        </p:spPr>
        <p:txBody>
          <a:bodyPr>
            <a:normAutofit fontScale="90000"/>
          </a:bodyPr>
          <a:lstStyle/>
          <a:p>
            <a:pPr algn="ctr" eaLnBrk="1" hangingPunct="1">
              <a:defRPr/>
            </a:pPr>
            <a:r>
              <a:rPr lang="fr-FR" sz="3200" b="1" dirty="0" err="1">
                <a:solidFill>
                  <a:srgbClr val="000000"/>
                </a:solidFill>
                <a:effectLst>
                  <a:outerShdw blurRad="38100" dist="38100" dir="2700000" algn="tl">
                    <a:srgbClr val="C0C0C0"/>
                  </a:outerShdw>
                </a:effectLst>
              </a:rPr>
              <a:t>Make</a:t>
            </a:r>
            <a:r>
              <a:rPr lang="fr-FR" sz="3200" b="1" dirty="0">
                <a:solidFill>
                  <a:srgbClr val="000000"/>
                </a:solidFill>
                <a:effectLst>
                  <a:outerShdw blurRad="38100" dist="38100" dir="2700000" algn="tl">
                    <a:srgbClr val="C0C0C0"/>
                  </a:outerShdw>
                </a:effectLst>
              </a:rPr>
              <a:t> the </a:t>
            </a:r>
            <a:r>
              <a:rPr lang="fr-FR" sz="3200" b="1" dirty="0" err="1">
                <a:solidFill>
                  <a:srgbClr val="000000"/>
                </a:solidFill>
                <a:effectLst>
                  <a:outerShdw blurRad="38100" dist="38100" dir="2700000" algn="tl">
                    <a:srgbClr val="C0C0C0"/>
                  </a:outerShdw>
                </a:effectLst>
              </a:rPr>
              <a:t>difference</a:t>
            </a:r>
            <a:r>
              <a:rPr lang="fr-FR" sz="3200" b="1" dirty="0">
                <a:solidFill>
                  <a:srgbClr val="000000"/>
                </a:solidFill>
                <a:effectLst>
                  <a:outerShdw blurRad="38100" dist="38100" dir="2700000" algn="tl">
                    <a:srgbClr val="C0C0C0"/>
                  </a:outerShdw>
                </a:effectLst>
              </a:rPr>
              <a:t> </a:t>
            </a:r>
          </a:p>
        </p:txBody>
      </p:sp>
      <p:pic>
        <p:nvPicPr>
          <p:cNvPr id="5" name="Picture 3" descr="logo%20coca-col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7286" y="1196975"/>
            <a:ext cx="1612900"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descr="m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12823" y="1828800"/>
            <a:ext cx="1439863" cy="1049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5" descr="logo_BNP_Pariba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81248" y="2924175"/>
            <a:ext cx="1511300"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6"/>
          <p:cNvSpPr txBox="1">
            <a:spLocks noChangeArrowheads="1"/>
          </p:cNvSpPr>
          <p:nvPr/>
        </p:nvSpPr>
        <p:spPr bwMode="auto">
          <a:xfrm>
            <a:off x="1409068" y="4172501"/>
            <a:ext cx="3455988" cy="24468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50000"/>
              </a:spcBef>
              <a:buClrTx/>
              <a:buSzTx/>
              <a:buFontTx/>
              <a:buNone/>
            </a:pPr>
            <a:r>
              <a:rPr lang="fr-FR" altLang="fr-FR" sz="1800" b="1" dirty="0" err="1">
                <a:solidFill>
                  <a:srgbClr val="000000"/>
                </a:solidFill>
              </a:rPr>
              <a:t>Competitive</a:t>
            </a:r>
            <a:r>
              <a:rPr lang="fr-FR" altLang="fr-FR" sz="1800" b="1" dirty="0">
                <a:solidFill>
                  <a:srgbClr val="000000"/>
                </a:solidFill>
              </a:rPr>
              <a:t> </a:t>
            </a:r>
            <a:r>
              <a:rPr lang="fr-FR" altLang="fr-FR" sz="1800" b="1" dirty="0" err="1">
                <a:solidFill>
                  <a:srgbClr val="000000"/>
                </a:solidFill>
              </a:rPr>
              <a:t>advantage</a:t>
            </a:r>
            <a:endParaRPr lang="fr-FR" altLang="fr-FR" sz="1800" b="1" dirty="0">
              <a:solidFill>
                <a:srgbClr val="000000"/>
              </a:solidFill>
            </a:endParaRPr>
          </a:p>
          <a:p>
            <a:pPr algn="ctr" eaLnBrk="1" hangingPunct="1">
              <a:spcBef>
                <a:spcPct val="50000"/>
              </a:spcBef>
              <a:buClrTx/>
              <a:buSzTx/>
              <a:buFontTx/>
              <a:buNone/>
            </a:pPr>
            <a:endParaRPr lang="fr-FR" altLang="fr-FR" sz="1800" b="1" dirty="0">
              <a:solidFill>
                <a:srgbClr val="000000"/>
              </a:solidFill>
            </a:endParaRPr>
          </a:p>
          <a:p>
            <a:pPr algn="ctr" eaLnBrk="1" hangingPunct="1">
              <a:spcBef>
                <a:spcPct val="50000"/>
              </a:spcBef>
              <a:buClrTx/>
              <a:buSzTx/>
              <a:buFontTx/>
              <a:buNone/>
            </a:pPr>
            <a:r>
              <a:rPr lang="fr-FR" altLang="fr-FR" sz="1800" b="1" dirty="0">
                <a:solidFill>
                  <a:srgbClr val="000000"/>
                </a:solidFill>
              </a:rPr>
              <a:t>Not </a:t>
            </a:r>
            <a:r>
              <a:rPr lang="fr-FR" altLang="fr-FR" sz="1800" b="1" dirty="0" err="1">
                <a:solidFill>
                  <a:srgbClr val="000000"/>
                </a:solidFill>
              </a:rPr>
              <a:t>only</a:t>
            </a:r>
            <a:r>
              <a:rPr lang="fr-FR" altLang="fr-FR" sz="1800" b="1" dirty="0">
                <a:solidFill>
                  <a:srgbClr val="000000"/>
                </a:solidFill>
              </a:rPr>
              <a:t> </a:t>
            </a:r>
            <a:r>
              <a:rPr lang="fr-FR" altLang="fr-FR" sz="1800" b="1" dirty="0" err="1">
                <a:solidFill>
                  <a:srgbClr val="000000"/>
                </a:solidFill>
              </a:rPr>
              <a:t>visibility</a:t>
            </a:r>
            <a:r>
              <a:rPr lang="fr-FR" altLang="fr-FR" sz="1800" b="1" dirty="0">
                <a:solidFill>
                  <a:srgbClr val="000000"/>
                </a:solidFill>
              </a:rPr>
              <a:t> ! </a:t>
            </a:r>
          </a:p>
          <a:p>
            <a:pPr algn="ctr" eaLnBrk="1" hangingPunct="1">
              <a:spcBef>
                <a:spcPct val="50000"/>
              </a:spcBef>
              <a:buClrTx/>
              <a:buSzTx/>
              <a:buFontTx/>
              <a:buNone/>
            </a:pPr>
            <a:endParaRPr lang="fr-FR" altLang="fr-FR" sz="1800" b="1" dirty="0">
              <a:solidFill>
                <a:srgbClr val="000000"/>
              </a:solidFill>
            </a:endParaRPr>
          </a:p>
          <a:p>
            <a:pPr algn="ctr" eaLnBrk="1" hangingPunct="1">
              <a:spcBef>
                <a:spcPct val="50000"/>
              </a:spcBef>
              <a:buClrTx/>
              <a:buSzTx/>
              <a:buFontTx/>
              <a:buNone/>
            </a:pPr>
            <a:r>
              <a:rPr lang="fr-FR" altLang="fr-FR" sz="1800" b="1" dirty="0" err="1">
                <a:solidFill>
                  <a:srgbClr val="000000"/>
                </a:solidFill>
              </a:rPr>
              <a:t>Reputation</a:t>
            </a:r>
            <a:r>
              <a:rPr lang="fr-FR" altLang="fr-FR" sz="1800" b="1" dirty="0">
                <a:solidFill>
                  <a:srgbClr val="000000"/>
                </a:solidFill>
              </a:rPr>
              <a:t> ! </a:t>
            </a:r>
          </a:p>
          <a:p>
            <a:pPr algn="ctr" eaLnBrk="1" hangingPunct="1">
              <a:spcBef>
                <a:spcPct val="50000"/>
              </a:spcBef>
              <a:buClrTx/>
              <a:buSzTx/>
              <a:buFontTx/>
              <a:buNone/>
            </a:pPr>
            <a:endParaRPr lang="fr-FR" altLang="fr-FR" sz="1800" b="1" dirty="0">
              <a:solidFill>
                <a:srgbClr val="000000"/>
              </a:solidFill>
            </a:endParaRPr>
          </a:p>
        </p:txBody>
      </p:sp>
      <p:pic>
        <p:nvPicPr>
          <p:cNvPr id="9" name="Picture 7" descr="logoOran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84261" y="2924175"/>
            <a:ext cx="865187"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Line 8"/>
          <p:cNvSpPr>
            <a:spLocks noChangeShapeType="1"/>
          </p:cNvSpPr>
          <p:nvPr/>
        </p:nvSpPr>
        <p:spPr bwMode="auto">
          <a:xfrm>
            <a:off x="1288973" y="3933825"/>
            <a:ext cx="9144000" cy="0"/>
          </a:xfrm>
          <a:prstGeom prst="line">
            <a:avLst/>
          </a:prstGeom>
          <a:noFill/>
          <a:ln w="952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pic>
        <p:nvPicPr>
          <p:cNvPr id="11" name="Picture 9" descr="poweo_118235200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97823" y="1196975"/>
            <a:ext cx="1362075" cy="81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0" descr="RedBullLog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68811" y="1916113"/>
            <a:ext cx="1871662"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1" descr="logo_Alice300W"/>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40698" y="2060575"/>
            <a:ext cx="976313"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2" descr="logo_48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669261" y="3429000"/>
            <a:ext cx="11430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Box 13"/>
          <p:cNvSpPr txBox="1">
            <a:spLocks noChangeArrowheads="1"/>
          </p:cNvSpPr>
          <p:nvPr/>
        </p:nvSpPr>
        <p:spPr bwMode="auto">
          <a:xfrm>
            <a:off x="6688854" y="4605185"/>
            <a:ext cx="3240088"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50000"/>
              </a:spcBef>
              <a:buClrTx/>
              <a:buSzTx/>
              <a:buFontTx/>
              <a:buNone/>
            </a:pPr>
            <a:r>
              <a:rPr lang="fr-FR" altLang="fr-FR" sz="1800" b="1" dirty="0" err="1">
                <a:solidFill>
                  <a:srgbClr val="000000"/>
                </a:solidFill>
              </a:rPr>
              <a:t>Visibility</a:t>
            </a:r>
            <a:r>
              <a:rPr lang="fr-FR" altLang="fr-FR" sz="1800" b="1" dirty="0">
                <a:solidFill>
                  <a:srgbClr val="000000"/>
                </a:solidFill>
              </a:rPr>
              <a:t> </a:t>
            </a:r>
          </a:p>
          <a:p>
            <a:pPr algn="ctr" eaLnBrk="1" hangingPunct="1">
              <a:spcBef>
                <a:spcPct val="50000"/>
              </a:spcBef>
              <a:buClrTx/>
              <a:buSzTx/>
              <a:buFontTx/>
              <a:buNone/>
            </a:pPr>
            <a:r>
              <a:rPr lang="fr-FR" altLang="fr-FR" sz="1800" b="1" dirty="0">
                <a:solidFill>
                  <a:srgbClr val="000000"/>
                </a:solidFill>
              </a:rPr>
              <a:t>+</a:t>
            </a:r>
          </a:p>
          <a:p>
            <a:pPr algn="ctr" eaLnBrk="1" hangingPunct="1">
              <a:spcBef>
                <a:spcPct val="50000"/>
              </a:spcBef>
              <a:buClrTx/>
              <a:buSzTx/>
              <a:buFontTx/>
              <a:buNone/>
            </a:pPr>
            <a:r>
              <a:rPr lang="fr-FR" altLang="fr-FR" sz="1800" b="1" dirty="0" err="1">
                <a:solidFill>
                  <a:srgbClr val="000000"/>
                </a:solidFill>
              </a:rPr>
              <a:t>Sensemaking</a:t>
            </a:r>
            <a:r>
              <a:rPr lang="fr-FR" altLang="fr-FR" sz="1800" b="1" dirty="0">
                <a:solidFill>
                  <a:srgbClr val="000000"/>
                </a:solidFill>
              </a:rPr>
              <a:t> activation to </a:t>
            </a:r>
            <a:r>
              <a:rPr lang="fr-FR" altLang="fr-FR" sz="1800" b="1" dirty="0" err="1">
                <a:solidFill>
                  <a:srgbClr val="000000"/>
                </a:solidFill>
              </a:rPr>
              <a:t>create</a:t>
            </a:r>
            <a:r>
              <a:rPr lang="fr-FR" altLang="fr-FR" sz="1800" b="1" dirty="0">
                <a:solidFill>
                  <a:srgbClr val="000000"/>
                </a:solidFill>
              </a:rPr>
              <a:t> a </a:t>
            </a:r>
            <a:r>
              <a:rPr lang="fr-FR" altLang="fr-FR" sz="1800" b="1" dirty="0" err="1">
                <a:solidFill>
                  <a:srgbClr val="000000"/>
                </a:solidFill>
              </a:rPr>
              <a:t>difference</a:t>
            </a:r>
            <a:r>
              <a:rPr lang="fr-FR" altLang="fr-FR" sz="1800" b="1" dirty="0">
                <a:solidFill>
                  <a:srgbClr val="000000"/>
                </a:solidFill>
              </a:rPr>
              <a:t> </a:t>
            </a:r>
          </a:p>
        </p:txBody>
      </p:sp>
      <p:sp>
        <p:nvSpPr>
          <p:cNvPr id="16" name="Line 14"/>
          <p:cNvSpPr>
            <a:spLocks noChangeShapeType="1"/>
          </p:cNvSpPr>
          <p:nvPr/>
        </p:nvSpPr>
        <p:spPr bwMode="auto">
          <a:xfrm flipV="1">
            <a:off x="4852911" y="3068638"/>
            <a:ext cx="1008062" cy="3789362"/>
          </a:xfrm>
          <a:prstGeom prst="line">
            <a:avLst/>
          </a:prstGeom>
          <a:noFill/>
          <a:ln w="28575">
            <a:solidFill>
              <a:srgbClr val="FF000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7" name="Line 15"/>
          <p:cNvSpPr>
            <a:spLocks noChangeShapeType="1"/>
          </p:cNvSpPr>
          <p:nvPr/>
        </p:nvSpPr>
        <p:spPr bwMode="auto">
          <a:xfrm flipV="1">
            <a:off x="6148311" y="836613"/>
            <a:ext cx="360362" cy="1008062"/>
          </a:xfrm>
          <a:prstGeom prst="line">
            <a:avLst/>
          </a:prstGeom>
          <a:noFill/>
          <a:ln w="28575">
            <a:solidFill>
              <a:srgbClr val="FF000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pic>
        <p:nvPicPr>
          <p:cNvPr id="18" name="Picture 16" descr="tg_52624_Logo%20Lenovo%20Ok"/>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229398" y="981075"/>
            <a:ext cx="1079500" cy="9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7" descr="xin_356b63b8e5c411d7b21c0001030784d9_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653136" y="3284538"/>
            <a:ext cx="1514475"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8" descr="logo_sony_larg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773411" y="908050"/>
            <a:ext cx="1406525" cy="132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941289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4395" name="Rectangle 144394">
            <a:extLst>
              <a:ext uri="{FF2B5EF4-FFF2-40B4-BE49-F238E27FC236}">
                <a16:creationId xmlns:a16="http://schemas.microsoft.com/office/drawing/2014/main" id="{5FEF463D-EE6B-46FF-B7C7-74B09A96C8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4397" name="Group 144396">
            <a:extLst>
              <a:ext uri="{FF2B5EF4-FFF2-40B4-BE49-F238E27FC236}">
                <a16:creationId xmlns:a16="http://schemas.microsoft.com/office/drawing/2014/main" id="{11A27B3A-460C-4100-99B5-817F25979F6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27089" y="1498602"/>
            <a:ext cx="4403345" cy="3940174"/>
            <a:chOff x="827089" y="1498602"/>
            <a:chExt cx="4403345" cy="3940174"/>
          </a:xfrm>
          <a:effectLst>
            <a:outerShdw blurRad="381000" dist="152400" dir="5400000" algn="ctr" rotWithShape="0">
              <a:srgbClr val="000000">
                <a:alpha val="10000"/>
              </a:srgbClr>
            </a:outerShdw>
          </a:effectLst>
        </p:grpSpPr>
        <p:sp>
          <p:nvSpPr>
            <p:cNvPr id="144398" name="Freeform: Shape 144397">
              <a:extLst>
                <a:ext uri="{FF2B5EF4-FFF2-40B4-BE49-F238E27FC236}">
                  <a16:creationId xmlns:a16="http://schemas.microsoft.com/office/drawing/2014/main" id="{35450488-7F33-43E4-B4DA-CAB50A1CC38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27089" y="1498602"/>
              <a:ext cx="4403345" cy="3940174"/>
            </a:xfrm>
            <a:custGeom>
              <a:avLst/>
              <a:gdLst>
                <a:gd name="connsiteX0" fmla="*/ 0 w 5260975"/>
                <a:gd name="connsiteY0" fmla="*/ 0 h 4707593"/>
                <a:gd name="connsiteX1" fmla="*/ 5260975 w 5260975"/>
                <a:gd name="connsiteY1" fmla="*/ 0 h 4707593"/>
                <a:gd name="connsiteX2" fmla="*/ 5260975 w 5260975"/>
                <a:gd name="connsiteY2" fmla="*/ 3296937 h 4707593"/>
                <a:gd name="connsiteX3" fmla="*/ 5260975 w 5260975"/>
                <a:gd name="connsiteY3" fmla="*/ 3518571 h 4707593"/>
                <a:gd name="connsiteX4" fmla="*/ 5226504 w 5260975"/>
                <a:gd name="connsiteY4" fmla="*/ 3534000 h 4707593"/>
                <a:gd name="connsiteX5" fmla="*/ 5206341 w 5260975"/>
                <a:gd name="connsiteY5" fmla="*/ 3542065 h 4707593"/>
                <a:gd name="connsiteX6" fmla="*/ 5123287 w 5260975"/>
                <a:gd name="connsiteY6" fmla="*/ 3594010 h 4707593"/>
                <a:gd name="connsiteX7" fmla="*/ 5048107 w 5260975"/>
                <a:gd name="connsiteY7" fmla="*/ 3658244 h 4707593"/>
                <a:gd name="connsiteX8" fmla="*/ 4992899 w 5260975"/>
                <a:gd name="connsiteY8" fmla="*/ 3734479 h 4707593"/>
                <a:gd name="connsiteX9" fmla="*/ 4977440 w 5260975"/>
                <a:gd name="connsiteY9" fmla="*/ 3752627 h 4707593"/>
                <a:gd name="connsiteX10" fmla="*/ 4935194 w 5260975"/>
                <a:gd name="connsiteY10" fmla="*/ 3775382 h 4707593"/>
                <a:gd name="connsiteX11" fmla="*/ 4897844 w 5260975"/>
                <a:gd name="connsiteY11" fmla="*/ 3792472 h 4707593"/>
                <a:gd name="connsiteX12" fmla="*/ 4870767 w 5260975"/>
                <a:gd name="connsiteY12" fmla="*/ 3811388 h 4707593"/>
                <a:gd name="connsiteX13" fmla="*/ 4847917 w 5260975"/>
                <a:gd name="connsiteY13" fmla="*/ 3828767 h 4707593"/>
                <a:gd name="connsiteX14" fmla="*/ 4796163 w 5260975"/>
                <a:gd name="connsiteY14" fmla="*/ 3873702 h 4707593"/>
                <a:gd name="connsiteX15" fmla="*/ 4738843 w 5260975"/>
                <a:gd name="connsiteY15" fmla="*/ 3911628 h 4707593"/>
                <a:gd name="connsiteX16" fmla="*/ 4692755 w 5260975"/>
                <a:gd name="connsiteY16" fmla="*/ 3958099 h 4707593"/>
                <a:gd name="connsiteX17" fmla="*/ 4673744 w 5260975"/>
                <a:gd name="connsiteY17" fmla="*/ 3983255 h 4707593"/>
                <a:gd name="connsiteX18" fmla="*/ 4633801 w 5260975"/>
                <a:gd name="connsiteY18" fmla="*/ 4000442 h 4707593"/>
                <a:gd name="connsiteX19" fmla="*/ 4590499 w 5260975"/>
                <a:gd name="connsiteY19" fmla="*/ 4027326 h 4707593"/>
                <a:gd name="connsiteX20" fmla="*/ 4559773 w 5260975"/>
                <a:gd name="connsiteY20" fmla="*/ 4054018 h 4707593"/>
                <a:gd name="connsiteX21" fmla="*/ 4536059 w 5260975"/>
                <a:gd name="connsiteY21" fmla="*/ 4071877 h 4707593"/>
                <a:gd name="connsiteX22" fmla="*/ 4502550 w 5260975"/>
                <a:gd name="connsiteY22" fmla="*/ 4089832 h 4707593"/>
                <a:gd name="connsiteX23" fmla="*/ 4468944 w 5260975"/>
                <a:gd name="connsiteY23" fmla="*/ 4113356 h 4707593"/>
                <a:gd name="connsiteX24" fmla="*/ 4452623 w 5260975"/>
                <a:gd name="connsiteY24" fmla="*/ 4127854 h 4707593"/>
                <a:gd name="connsiteX25" fmla="*/ 4421032 w 5260975"/>
                <a:gd name="connsiteY25" fmla="*/ 4151953 h 4707593"/>
                <a:gd name="connsiteX26" fmla="*/ 4388483 w 5260975"/>
                <a:gd name="connsiteY26" fmla="*/ 4174421 h 4707593"/>
                <a:gd name="connsiteX27" fmla="*/ 4327321 w 5260975"/>
                <a:gd name="connsiteY27" fmla="*/ 4200153 h 4707593"/>
                <a:gd name="connsiteX28" fmla="*/ 4271633 w 5260975"/>
                <a:gd name="connsiteY28" fmla="*/ 4237983 h 4707593"/>
                <a:gd name="connsiteX29" fmla="*/ 4227465 w 5260975"/>
                <a:gd name="connsiteY29" fmla="*/ 4265635 h 4707593"/>
                <a:gd name="connsiteX30" fmla="*/ 4201733 w 5260975"/>
                <a:gd name="connsiteY30" fmla="*/ 4283783 h 4707593"/>
                <a:gd name="connsiteX31" fmla="*/ 4154494 w 5260975"/>
                <a:gd name="connsiteY31" fmla="*/ 4324301 h 4707593"/>
                <a:gd name="connsiteX32" fmla="*/ 4081234 w 5260975"/>
                <a:gd name="connsiteY32" fmla="*/ 4366931 h 4707593"/>
                <a:gd name="connsiteX33" fmla="*/ 4036971 w 5260975"/>
                <a:gd name="connsiteY33" fmla="*/ 4389975 h 4707593"/>
                <a:gd name="connsiteX34" fmla="*/ 3941725 w 5260975"/>
                <a:gd name="connsiteY34" fmla="*/ 4424733 h 4707593"/>
                <a:gd name="connsiteX35" fmla="*/ 3910999 w 5260975"/>
                <a:gd name="connsiteY35" fmla="*/ 4437119 h 4707593"/>
                <a:gd name="connsiteX36" fmla="*/ 3875859 w 5260975"/>
                <a:gd name="connsiteY36" fmla="*/ 4445280 h 4707593"/>
                <a:gd name="connsiteX37" fmla="*/ 3819401 w 5260975"/>
                <a:gd name="connsiteY37" fmla="*/ 4464579 h 4707593"/>
                <a:gd name="connsiteX38" fmla="*/ 3709176 w 5260975"/>
                <a:gd name="connsiteY38" fmla="*/ 4497800 h 4707593"/>
                <a:gd name="connsiteX39" fmla="*/ 3684981 w 5260975"/>
                <a:gd name="connsiteY39" fmla="*/ 4502889 h 4707593"/>
                <a:gd name="connsiteX40" fmla="*/ 3623338 w 5260975"/>
                <a:gd name="connsiteY40" fmla="*/ 4524300 h 4707593"/>
                <a:gd name="connsiteX41" fmla="*/ 3586373 w 5260975"/>
                <a:gd name="connsiteY41" fmla="*/ 4538702 h 4707593"/>
                <a:gd name="connsiteX42" fmla="*/ 3555743 w 5260975"/>
                <a:gd name="connsiteY42" fmla="*/ 4546960 h 4707593"/>
                <a:gd name="connsiteX43" fmla="*/ 3528667 w 5260975"/>
                <a:gd name="connsiteY43" fmla="*/ 4550801 h 4707593"/>
                <a:gd name="connsiteX44" fmla="*/ 3457424 w 5260975"/>
                <a:gd name="connsiteY44" fmla="*/ 4569811 h 4707593"/>
                <a:gd name="connsiteX45" fmla="*/ 3429003 w 5260975"/>
                <a:gd name="connsiteY45" fmla="*/ 4577301 h 4707593"/>
                <a:gd name="connsiteX46" fmla="*/ 3355264 w 5260975"/>
                <a:gd name="connsiteY46" fmla="*/ 4603033 h 4707593"/>
                <a:gd name="connsiteX47" fmla="*/ 3292757 w 5260975"/>
                <a:gd name="connsiteY47" fmla="*/ 4620027 h 4707593"/>
                <a:gd name="connsiteX48" fmla="*/ 3266643 w 5260975"/>
                <a:gd name="connsiteY48" fmla="*/ 4628188 h 4707593"/>
                <a:gd name="connsiteX49" fmla="*/ 3206921 w 5260975"/>
                <a:gd name="connsiteY49" fmla="*/ 4641823 h 4707593"/>
                <a:gd name="connsiteX50" fmla="*/ 3173123 w 5260975"/>
                <a:gd name="connsiteY50" fmla="*/ 4651425 h 4707593"/>
                <a:gd name="connsiteX51" fmla="*/ 3090646 w 5260975"/>
                <a:gd name="connsiteY51" fmla="*/ 4662274 h 4707593"/>
                <a:gd name="connsiteX52" fmla="*/ 3005480 w 5260975"/>
                <a:gd name="connsiteY52" fmla="*/ 4672739 h 4707593"/>
                <a:gd name="connsiteX53" fmla="*/ 2958721 w 5260975"/>
                <a:gd name="connsiteY53" fmla="*/ 4676196 h 4707593"/>
                <a:gd name="connsiteX54" fmla="*/ 2917915 w 5260975"/>
                <a:gd name="connsiteY54" fmla="*/ 4681670 h 4707593"/>
                <a:gd name="connsiteX55" fmla="*/ 2882389 w 5260975"/>
                <a:gd name="connsiteY55" fmla="*/ 4685126 h 4707593"/>
                <a:gd name="connsiteX56" fmla="*/ 2825837 w 5260975"/>
                <a:gd name="connsiteY56" fmla="*/ 4692135 h 4707593"/>
                <a:gd name="connsiteX57" fmla="*/ 2802313 w 5260975"/>
                <a:gd name="connsiteY57" fmla="*/ 4693960 h 4707593"/>
                <a:gd name="connsiteX58" fmla="*/ 2746816 w 5260975"/>
                <a:gd name="connsiteY58" fmla="*/ 4693863 h 4707593"/>
                <a:gd name="connsiteX59" fmla="*/ 2727517 w 5260975"/>
                <a:gd name="connsiteY59" fmla="*/ 4692903 h 4707593"/>
                <a:gd name="connsiteX60" fmla="*/ 2690359 w 5260975"/>
                <a:gd name="connsiteY60" fmla="*/ 4680997 h 4707593"/>
                <a:gd name="connsiteX61" fmla="*/ 2685943 w 5260975"/>
                <a:gd name="connsiteY61" fmla="*/ 4680133 h 4707593"/>
                <a:gd name="connsiteX62" fmla="*/ 2661554 w 5260975"/>
                <a:gd name="connsiteY62" fmla="*/ 4675428 h 4707593"/>
                <a:gd name="connsiteX63" fmla="*/ 2648208 w 5260975"/>
                <a:gd name="connsiteY63" fmla="*/ 4673892 h 4707593"/>
                <a:gd name="connsiteX64" fmla="*/ 2597512 w 5260975"/>
                <a:gd name="connsiteY64" fmla="*/ 4664099 h 4707593"/>
                <a:gd name="connsiteX65" fmla="*/ 2568324 w 5260975"/>
                <a:gd name="connsiteY65" fmla="*/ 4659490 h 4707593"/>
                <a:gd name="connsiteX66" fmla="*/ 2544704 w 5260975"/>
                <a:gd name="connsiteY66" fmla="*/ 4660162 h 4707593"/>
                <a:gd name="connsiteX67" fmla="*/ 2503225 w 5260975"/>
                <a:gd name="connsiteY67" fmla="*/ 4661026 h 4707593"/>
                <a:gd name="connsiteX68" fmla="*/ 2489975 w 5260975"/>
                <a:gd name="connsiteY68" fmla="*/ 4663235 h 4707593"/>
                <a:gd name="connsiteX69" fmla="*/ 2430061 w 5260975"/>
                <a:gd name="connsiteY69" fmla="*/ 4656897 h 4707593"/>
                <a:gd name="connsiteX70" fmla="*/ 2395880 w 5260975"/>
                <a:gd name="connsiteY70" fmla="*/ 4656417 h 4707593"/>
                <a:gd name="connsiteX71" fmla="*/ 2357378 w 5260975"/>
                <a:gd name="connsiteY71" fmla="*/ 4648544 h 4707593"/>
                <a:gd name="connsiteX72" fmla="*/ 2346145 w 5260975"/>
                <a:gd name="connsiteY72" fmla="*/ 4648928 h 4707593"/>
                <a:gd name="connsiteX73" fmla="*/ 2333567 w 5260975"/>
                <a:gd name="connsiteY73" fmla="*/ 4649600 h 4707593"/>
                <a:gd name="connsiteX74" fmla="*/ 2294968 w 5260975"/>
                <a:gd name="connsiteY74" fmla="*/ 4650177 h 4707593"/>
                <a:gd name="connsiteX75" fmla="*/ 2271540 w 5260975"/>
                <a:gd name="connsiteY75" fmla="*/ 4653057 h 4707593"/>
                <a:gd name="connsiteX76" fmla="*/ 2226895 w 5260975"/>
                <a:gd name="connsiteY76" fmla="*/ 4651329 h 4707593"/>
                <a:gd name="connsiteX77" fmla="*/ 2210379 w 5260975"/>
                <a:gd name="connsiteY77" fmla="*/ 4653825 h 4707593"/>
                <a:gd name="connsiteX78" fmla="*/ 2168613 w 5260975"/>
                <a:gd name="connsiteY78" fmla="*/ 4654113 h 4707593"/>
                <a:gd name="connsiteX79" fmla="*/ 2131167 w 5260975"/>
                <a:gd name="connsiteY79" fmla="*/ 4652673 h 4707593"/>
                <a:gd name="connsiteX80" fmla="*/ 2095065 w 5260975"/>
                <a:gd name="connsiteY80" fmla="*/ 4653441 h 4707593"/>
                <a:gd name="connsiteX81" fmla="*/ 2069237 w 5260975"/>
                <a:gd name="connsiteY81" fmla="*/ 4656609 h 4707593"/>
                <a:gd name="connsiteX82" fmla="*/ 2041201 w 5260975"/>
                <a:gd name="connsiteY82" fmla="*/ 4658529 h 4707593"/>
                <a:gd name="connsiteX83" fmla="*/ 1963909 w 5260975"/>
                <a:gd name="connsiteY83" fmla="*/ 4669955 h 4707593"/>
                <a:gd name="connsiteX84" fmla="*/ 1949603 w 5260975"/>
                <a:gd name="connsiteY84" fmla="*/ 4667171 h 4707593"/>
                <a:gd name="connsiteX85" fmla="*/ 1868373 w 5260975"/>
                <a:gd name="connsiteY85" fmla="*/ 4664578 h 4707593"/>
                <a:gd name="connsiteX86" fmla="*/ 1850707 w 5260975"/>
                <a:gd name="connsiteY86" fmla="*/ 4664771 h 4707593"/>
                <a:gd name="connsiteX87" fmla="*/ 1803275 w 5260975"/>
                <a:gd name="connsiteY87" fmla="*/ 4653441 h 4707593"/>
                <a:gd name="connsiteX88" fmla="*/ 1730112 w 5260975"/>
                <a:gd name="connsiteY88" fmla="*/ 4671396 h 4707593"/>
                <a:gd name="connsiteX89" fmla="*/ 1661652 w 5260975"/>
                <a:gd name="connsiteY89" fmla="*/ 4693863 h 4707593"/>
                <a:gd name="connsiteX90" fmla="*/ 1653011 w 5260975"/>
                <a:gd name="connsiteY90" fmla="*/ 4696744 h 4707593"/>
                <a:gd name="connsiteX91" fmla="*/ 1628431 w 5260975"/>
                <a:gd name="connsiteY91" fmla="*/ 4701641 h 4707593"/>
                <a:gd name="connsiteX92" fmla="*/ 1597995 w 5260975"/>
                <a:gd name="connsiteY92" fmla="*/ 4703369 h 4707593"/>
                <a:gd name="connsiteX93" fmla="*/ 1559396 w 5260975"/>
                <a:gd name="connsiteY93" fmla="*/ 4707593 h 4707593"/>
                <a:gd name="connsiteX94" fmla="*/ 1528480 w 5260975"/>
                <a:gd name="connsiteY94" fmla="*/ 4702312 h 4707593"/>
                <a:gd name="connsiteX95" fmla="*/ 1485272 w 5260975"/>
                <a:gd name="connsiteY95" fmla="*/ 4694439 h 4707593"/>
                <a:gd name="connsiteX96" fmla="*/ 1444562 w 5260975"/>
                <a:gd name="connsiteY96" fmla="*/ 4686950 h 4707593"/>
                <a:gd name="connsiteX97" fmla="*/ 1431696 w 5260975"/>
                <a:gd name="connsiteY97" fmla="*/ 4695783 h 4707593"/>
                <a:gd name="connsiteX98" fmla="*/ 1411821 w 5260975"/>
                <a:gd name="connsiteY98" fmla="*/ 4703464 h 4707593"/>
                <a:gd name="connsiteX99" fmla="*/ 1389738 w 5260975"/>
                <a:gd name="connsiteY99" fmla="*/ 4694247 h 4707593"/>
                <a:gd name="connsiteX100" fmla="*/ 1338081 w 5260975"/>
                <a:gd name="connsiteY100" fmla="*/ 4675141 h 4707593"/>
                <a:gd name="connsiteX101" fmla="*/ 1305436 w 5260975"/>
                <a:gd name="connsiteY101" fmla="*/ 4674276 h 4707593"/>
                <a:gd name="connsiteX102" fmla="*/ 1234481 w 5260975"/>
                <a:gd name="connsiteY102" fmla="*/ 4666115 h 4707593"/>
                <a:gd name="connsiteX103" fmla="*/ 1188106 w 5260975"/>
                <a:gd name="connsiteY103" fmla="*/ 4654497 h 4707593"/>
                <a:gd name="connsiteX104" fmla="*/ 1154790 w 5260975"/>
                <a:gd name="connsiteY104" fmla="*/ 4641343 h 4707593"/>
                <a:gd name="connsiteX105" fmla="*/ 1107069 w 5260975"/>
                <a:gd name="connsiteY105" fmla="*/ 4624156 h 4707593"/>
                <a:gd name="connsiteX106" fmla="*/ 1059158 w 5260975"/>
                <a:gd name="connsiteY106" fmla="*/ 4615227 h 4707593"/>
                <a:gd name="connsiteX107" fmla="*/ 1024496 w 5260975"/>
                <a:gd name="connsiteY107" fmla="*/ 4603993 h 4707593"/>
                <a:gd name="connsiteX108" fmla="*/ 982153 w 5260975"/>
                <a:gd name="connsiteY108" fmla="*/ 4596311 h 4707593"/>
                <a:gd name="connsiteX109" fmla="*/ 946628 w 5260975"/>
                <a:gd name="connsiteY109" fmla="*/ 4596024 h 4707593"/>
                <a:gd name="connsiteX110" fmla="*/ 890939 w 5260975"/>
                <a:gd name="connsiteY110" fmla="*/ 4597368 h 4707593"/>
                <a:gd name="connsiteX111" fmla="*/ 822769 w 5260975"/>
                <a:gd name="connsiteY111" fmla="*/ 4574133 h 4707593"/>
                <a:gd name="connsiteX112" fmla="*/ 795212 w 5260975"/>
                <a:gd name="connsiteY112" fmla="*/ 4568947 h 4707593"/>
                <a:gd name="connsiteX113" fmla="*/ 769288 w 5260975"/>
                <a:gd name="connsiteY113" fmla="*/ 4566547 h 4707593"/>
                <a:gd name="connsiteX114" fmla="*/ 714271 w 5260975"/>
                <a:gd name="connsiteY114" fmla="*/ 4551089 h 4707593"/>
                <a:gd name="connsiteX115" fmla="*/ 691900 w 5260975"/>
                <a:gd name="connsiteY115" fmla="*/ 4545999 h 4707593"/>
                <a:gd name="connsiteX116" fmla="*/ 660598 w 5260975"/>
                <a:gd name="connsiteY116" fmla="*/ 4546096 h 4707593"/>
                <a:gd name="connsiteX117" fmla="*/ 603662 w 5260975"/>
                <a:gd name="connsiteY117" fmla="*/ 4538991 h 4707593"/>
                <a:gd name="connsiteX118" fmla="*/ 546821 w 5260975"/>
                <a:gd name="connsiteY118" fmla="*/ 4518251 h 4707593"/>
                <a:gd name="connsiteX119" fmla="*/ 522721 w 5260975"/>
                <a:gd name="connsiteY119" fmla="*/ 4520267 h 4707593"/>
                <a:gd name="connsiteX120" fmla="*/ 514080 w 5260975"/>
                <a:gd name="connsiteY120" fmla="*/ 4519788 h 4707593"/>
                <a:gd name="connsiteX121" fmla="*/ 436404 w 5260975"/>
                <a:gd name="connsiteY121" fmla="*/ 4508361 h 4707593"/>
                <a:gd name="connsiteX122" fmla="*/ 428626 w 5260975"/>
                <a:gd name="connsiteY122" fmla="*/ 4507114 h 4707593"/>
                <a:gd name="connsiteX123" fmla="*/ 392141 w 5260975"/>
                <a:gd name="connsiteY123" fmla="*/ 4496936 h 4707593"/>
                <a:gd name="connsiteX124" fmla="*/ 300157 w 5260975"/>
                <a:gd name="connsiteY124" fmla="*/ 4490599 h 4707593"/>
                <a:gd name="connsiteX125" fmla="*/ 294493 w 5260975"/>
                <a:gd name="connsiteY125" fmla="*/ 4489831 h 4707593"/>
                <a:gd name="connsiteX126" fmla="*/ 263671 w 5260975"/>
                <a:gd name="connsiteY126" fmla="*/ 4494919 h 4707593"/>
                <a:gd name="connsiteX127" fmla="*/ 248406 w 5260975"/>
                <a:gd name="connsiteY127" fmla="*/ 4502121 h 4707593"/>
                <a:gd name="connsiteX128" fmla="*/ 224594 w 5260975"/>
                <a:gd name="connsiteY128" fmla="*/ 4509610 h 4707593"/>
                <a:gd name="connsiteX129" fmla="*/ 200398 w 5260975"/>
                <a:gd name="connsiteY129" fmla="*/ 4512395 h 4707593"/>
                <a:gd name="connsiteX130" fmla="*/ 159783 w 5260975"/>
                <a:gd name="connsiteY130" fmla="*/ 4501064 h 4707593"/>
                <a:gd name="connsiteX131" fmla="*/ 144997 w 5260975"/>
                <a:gd name="connsiteY131" fmla="*/ 4499912 h 4707593"/>
                <a:gd name="connsiteX132" fmla="*/ 112064 w 5260975"/>
                <a:gd name="connsiteY132" fmla="*/ 4494440 h 4707593"/>
                <a:gd name="connsiteX133" fmla="*/ 83259 w 5260975"/>
                <a:gd name="connsiteY133" fmla="*/ 4494824 h 4707593"/>
                <a:gd name="connsiteX134" fmla="*/ 60120 w 5260975"/>
                <a:gd name="connsiteY134" fmla="*/ 4503561 h 4707593"/>
                <a:gd name="connsiteX135" fmla="*/ 26514 w 5260975"/>
                <a:gd name="connsiteY135" fmla="*/ 4505289 h 4707593"/>
                <a:gd name="connsiteX136" fmla="*/ 4814 w 5260975"/>
                <a:gd name="connsiteY136" fmla="*/ 4498952 h 4707593"/>
                <a:gd name="connsiteX137" fmla="*/ 398 w 5260975"/>
                <a:gd name="connsiteY137" fmla="*/ 4498089 h 4707593"/>
                <a:gd name="connsiteX138" fmla="*/ 0 w 5260975"/>
                <a:gd name="connsiteY138" fmla="*/ 4498087 h 4707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5260975" h="4707593">
                  <a:moveTo>
                    <a:pt x="0" y="0"/>
                  </a:moveTo>
                  <a:lnTo>
                    <a:pt x="5260975" y="0"/>
                  </a:lnTo>
                  <a:lnTo>
                    <a:pt x="5260975" y="3296937"/>
                  </a:lnTo>
                  <a:lnTo>
                    <a:pt x="5260975" y="3518571"/>
                  </a:lnTo>
                  <a:lnTo>
                    <a:pt x="5226504" y="3534000"/>
                  </a:lnTo>
                  <a:cubicBezTo>
                    <a:pt x="5219783" y="3536785"/>
                    <a:pt x="5212389" y="3538321"/>
                    <a:pt x="5206341" y="3542065"/>
                  </a:cubicBezTo>
                  <a:cubicBezTo>
                    <a:pt x="5178495" y="3559156"/>
                    <a:pt x="5151515" y="3577591"/>
                    <a:pt x="5123287" y="3594010"/>
                  </a:cubicBezTo>
                  <a:cubicBezTo>
                    <a:pt x="5094195" y="3611004"/>
                    <a:pt x="5068175" y="3631071"/>
                    <a:pt x="5048107" y="3658244"/>
                  </a:cubicBezTo>
                  <a:cubicBezTo>
                    <a:pt x="5029480" y="3683496"/>
                    <a:pt x="5011429" y="3709131"/>
                    <a:pt x="4992899" y="3734479"/>
                  </a:cubicBezTo>
                  <a:cubicBezTo>
                    <a:pt x="4988194" y="3740912"/>
                    <a:pt x="4983874" y="3748498"/>
                    <a:pt x="4977440" y="3752627"/>
                  </a:cubicBezTo>
                  <a:cubicBezTo>
                    <a:pt x="4964094" y="3761268"/>
                    <a:pt x="4949500" y="3768277"/>
                    <a:pt x="4935194" y="3775382"/>
                  </a:cubicBezTo>
                  <a:cubicBezTo>
                    <a:pt x="4922903" y="3781431"/>
                    <a:pt x="4909846" y="3785943"/>
                    <a:pt x="4897844" y="3792472"/>
                  </a:cubicBezTo>
                  <a:cubicBezTo>
                    <a:pt x="4888243" y="3797658"/>
                    <a:pt x="4879697" y="3804859"/>
                    <a:pt x="4870767" y="3811388"/>
                  </a:cubicBezTo>
                  <a:cubicBezTo>
                    <a:pt x="4862990" y="3817052"/>
                    <a:pt x="4854445" y="3821949"/>
                    <a:pt x="4847917" y="3828767"/>
                  </a:cubicBezTo>
                  <a:cubicBezTo>
                    <a:pt x="4831977" y="3845281"/>
                    <a:pt x="4815942" y="3861508"/>
                    <a:pt x="4796163" y="3873702"/>
                  </a:cubicBezTo>
                  <a:cubicBezTo>
                    <a:pt x="4776672" y="3885799"/>
                    <a:pt x="4758237" y="3899338"/>
                    <a:pt x="4738843" y="3911628"/>
                  </a:cubicBezTo>
                  <a:cubicBezTo>
                    <a:pt x="4719831" y="3923630"/>
                    <a:pt x="4702645" y="3936783"/>
                    <a:pt x="4692755" y="3958099"/>
                  </a:cubicBezTo>
                  <a:cubicBezTo>
                    <a:pt x="4688339" y="3967508"/>
                    <a:pt x="4682097" y="3977782"/>
                    <a:pt x="4673744" y="3983255"/>
                  </a:cubicBezTo>
                  <a:cubicBezTo>
                    <a:pt x="4661838" y="3991032"/>
                    <a:pt x="4646764" y="3993817"/>
                    <a:pt x="4633801" y="4000442"/>
                  </a:cubicBezTo>
                  <a:cubicBezTo>
                    <a:pt x="4618535" y="4008219"/>
                    <a:pt x="4600869" y="4014940"/>
                    <a:pt x="4590499" y="4027326"/>
                  </a:cubicBezTo>
                  <a:cubicBezTo>
                    <a:pt x="4581281" y="4038368"/>
                    <a:pt x="4571968" y="4047009"/>
                    <a:pt x="4559773" y="4054018"/>
                  </a:cubicBezTo>
                  <a:cubicBezTo>
                    <a:pt x="4551229" y="4058915"/>
                    <a:pt x="4544892" y="4067844"/>
                    <a:pt x="4536059" y="4071877"/>
                  </a:cubicBezTo>
                  <a:cubicBezTo>
                    <a:pt x="4524442" y="4077254"/>
                    <a:pt x="4512727" y="4081479"/>
                    <a:pt x="4502550" y="4089832"/>
                  </a:cubicBezTo>
                  <a:cubicBezTo>
                    <a:pt x="4491987" y="4098473"/>
                    <a:pt x="4479986" y="4105290"/>
                    <a:pt x="4468944" y="4113356"/>
                  </a:cubicBezTo>
                  <a:cubicBezTo>
                    <a:pt x="4463087" y="4117676"/>
                    <a:pt x="4458286" y="4123341"/>
                    <a:pt x="4452623" y="4127854"/>
                  </a:cubicBezTo>
                  <a:cubicBezTo>
                    <a:pt x="4442252" y="4136111"/>
                    <a:pt x="4431690" y="4144176"/>
                    <a:pt x="4421032" y="4151953"/>
                  </a:cubicBezTo>
                  <a:cubicBezTo>
                    <a:pt x="4410375" y="4159731"/>
                    <a:pt x="4400197" y="4168756"/>
                    <a:pt x="4388483" y="4174421"/>
                  </a:cubicBezTo>
                  <a:cubicBezTo>
                    <a:pt x="4368513" y="4184023"/>
                    <a:pt x="4346717" y="4189784"/>
                    <a:pt x="4327321" y="4200153"/>
                  </a:cubicBezTo>
                  <a:cubicBezTo>
                    <a:pt x="4307639" y="4210714"/>
                    <a:pt x="4289107" y="4223965"/>
                    <a:pt x="4271633" y="4237983"/>
                  </a:cubicBezTo>
                  <a:cubicBezTo>
                    <a:pt x="4257807" y="4249025"/>
                    <a:pt x="4244845" y="4259971"/>
                    <a:pt x="4227465" y="4265635"/>
                  </a:cubicBezTo>
                  <a:cubicBezTo>
                    <a:pt x="4217768" y="4268804"/>
                    <a:pt x="4207591" y="4275717"/>
                    <a:pt x="4201733" y="4283783"/>
                  </a:cubicBezTo>
                  <a:cubicBezTo>
                    <a:pt x="4189059" y="4301353"/>
                    <a:pt x="4172833" y="4313739"/>
                    <a:pt x="4154494" y="4324301"/>
                  </a:cubicBezTo>
                  <a:cubicBezTo>
                    <a:pt x="4130010" y="4338511"/>
                    <a:pt x="4105814" y="4353009"/>
                    <a:pt x="4081234" y="4366931"/>
                  </a:cubicBezTo>
                  <a:cubicBezTo>
                    <a:pt x="4066737" y="4375189"/>
                    <a:pt x="4052335" y="4383926"/>
                    <a:pt x="4036971" y="4389975"/>
                  </a:cubicBezTo>
                  <a:cubicBezTo>
                    <a:pt x="4005575" y="4402457"/>
                    <a:pt x="3973410" y="4413114"/>
                    <a:pt x="3941725" y="4424733"/>
                  </a:cubicBezTo>
                  <a:cubicBezTo>
                    <a:pt x="3931355" y="4428477"/>
                    <a:pt x="3921561" y="4433854"/>
                    <a:pt x="3910999" y="4437119"/>
                  </a:cubicBezTo>
                  <a:cubicBezTo>
                    <a:pt x="3899573" y="4440671"/>
                    <a:pt x="3887285" y="4441727"/>
                    <a:pt x="3875859" y="4445280"/>
                  </a:cubicBezTo>
                  <a:cubicBezTo>
                    <a:pt x="3856847" y="4451136"/>
                    <a:pt x="3838412" y="4458626"/>
                    <a:pt x="3819401" y="4464579"/>
                  </a:cubicBezTo>
                  <a:cubicBezTo>
                    <a:pt x="3782723" y="4476005"/>
                    <a:pt x="3745949" y="4486951"/>
                    <a:pt x="3709176" y="4497800"/>
                  </a:cubicBezTo>
                  <a:cubicBezTo>
                    <a:pt x="3701303" y="4500105"/>
                    <a:pt x="3692757" y="4500393"/>
                    <a:pt x="3684981" y="4502889"/>
                  </a:cubicBezTo>
                  <a:cubicBezTo>
                    <a:pt x="3664337" y="4509610"/>
                    <a:pt x="3643789" y="4516907"/>
                    <a:pt x="3623338" y="4524300"/>
                  </a:cubicBezTo>
                  <a:cubicBezTo>
                    <a:pt x="3610953" y="4528813"/>
                    <a:pt x="3598854" y="4534382"/>
                    <a:pt x="3586373" y="4538702"/>
                  </a:cubicBezTo>
                  <a:cubicBezTo>
                    <a:pt x="3576387" y="4542159"/>
                    <a:pt x="3566113" y="4544847"/>
                    <a:pt x="3555743" y="4546960"/>
                  </a:cubicBezTo>
                  <a:cubicBezTo>
                    <a:pt x="3546814" y="4548785"/>
                    <a:pt x="3537501" y="4548592"/>
                    <a:pt x="3528667" y="4550801"/>
                  </a:cubicBezTo>
                  <a:cubicBezTo>
                    <a:pt x="3504759" y="4556753"/>
                    <a:pt x="3481140" y="4563475"/>
                    <a:pt x="3457424" y="4569811"/>
                  </a:cubicBezTo>
                  <a:cubicBezTo>
                    <a:pt x="3447919" y="4572308"/>
                    <a:pt x="3438221" y="4574133"/>
                    <a:pt x="3429003" y="4577301"/>
                  </a:cubicBezTo>
                  <a:cubicBezTo>
                    <a:pt x="3404327" y="4585654"/>
                    <a:pt x="3380036" y="4595159"/>
                    <a:pt x="3355264" y="4603033"/>
                  </a:cubicBezTo>
                  <a:cubicBezTo>
                    <a:pt x="3334717" y="4609562"/>
                    <a:pt x="3313593" y="4614266"/>
                    <a:pt x="3292757" y="4620027"/>
                  </a:cubicBezTo>
                  <a:cubicBezTo>
                    <a:pt x="3283924" y="4622524"/>
                    <a:pt x="3275475" y="4626077"/>
                    <a:pt x="3266643" y="4628188"/>
                  </a:cubicBezTo>
                  <a:cubicBezTo>
                    <a:pt x="3246863" y="4632990"/>
                    <a:pt x="3226796" y="4637022"/>
                    <a:pt x="3206921" y="4641823"/>
                  </a:cubicBezTo>
                  <a:cubicBezTo>
                    <a:pt x="3195590" y="4644607"/>
                    <a:pt x="3184645" y="4649600"/>
                    <a:pt x="3173123" y="4651425"/>
                  </a:cubicBezTo>
                  <a:cubicBezTo>
                    <a:pt x="3145759" y="4655745"/>
                    <a:pt x="3118203" y="4658817"/>
                    <a:pt x="3090646" y="4662274"/>
                  </a:cubicBezTo>
                  <a:cubicBezTo>
                    <a:pt x="3062227" y="4665826"/>
                    <a:pt x="3033902" y="4669571"/>
                    <a:pt x="3005480" y="4672739"/>
                  </a:cubicBezTo>
                  <a:cubicBezTo>
                    <a:pt x="2989926" y="4674372"/>
                    <a:pt x="2974275" y="4674660"/>
                    <a:pt x="2958721" y="4676196"/>
                  </a:cubicBezTo>
                  <a:cubicBezTo>
                    <a:pt x="2945087" y="4677541"/>
                    <a:pt x="2931549" y="4680037"/>
                    <a:pt x="2917915" y="4681670"/>
                  </a:cubicBezTo>
                  <a:cubicBezTo>
                    <a:pt x="2906105" y="4683013"/>
                    <a:pt x="2894199" y="4683781"/>
                    <a:pt x="2882389" y="4685126"/>
                  </a:cubicBezTo>
                  <a:cubicBezTo>
                    <a:pt x="2863475" y="4687334"/>
                    <a:pt x="2844655" y="4689831"/>
                    <a:pt x="2825837" y="4692135"/>
                  </a:cubicBezTo>
                  <a:cubicBezTo>
                    <a:pt x="2817964" y="4692999"/>
                    <a:pt x="2809706" y="4695399"/>
                    <a:pt x="2802313" y="4693960"/>
                  </a:cubicBezTo>
                  <a:cubicBezTo>
                    <a:pt x="2783686" y="4690310"/>
                    <a:pt x="2765347" y="4691367"/>
                    <a:pt x="2746816" y="4693863"/>
                  </a:cubicBezTo>
                  <a:cubicBezTo>
                    <a:pt x="2740479" y="4694728"/>
                    <a:pt x="2733662" y="4694535"/>
                    <a:pt x="2727517" y="4692903"/>
                  </a:cubicBezTo>
                  <a:cubicBezTo>
                    <a:pt x="2714939" y="4689638"/>
                    <a:pt x="2702745" y="4685029"/>
                    <a:pt x="2690359" y="4680997"/>
                  </a:cubicBezTo>
                  <a:cubicBezTo>
                    <a:pt x="2689014" y="4680517"/>
                    <a:pt x="2687382" y="4680421"/>
                    <a:pt x="2685943" y="4680133"/>
                  </a:cubicBezTo>
                  <a:cubicBezTo>
                    <a:pt x="2677781" y="4678500"/>
                    <a:pt x="2669717" y="4676868"/>
                    <a:pt x="2661554" y="4675428"/>
                  </a:cubicBezTo>
                  <a:cubicBezTo>
                    <a:pt x="2657138" y="4674660"/>
                    <a:pt x="2652625" y="4674564"/>
                    <a:pt x="2648208" y="4673892"/>
                  </a:cubicBezTo>
                  <a:cubicBezTo>
                    <a:pt x="2631118" y="4671203"/>
                    <a:pt x="2612299" y="4675716"/>
                    <a:pt x="2597512" y="4664099"/>
                  </a:cubicBezTo>
                  <a:cubicBezTo>
                    <a:pt x="2587911" y="4656609"/>
                    <a:pt x="2578597" y="4658338"/>
                    <a:pt x="2568324" y="4659490"/>
                  </a:cubicBezTo>
                  <a:cubicBezTo>
                    <a:pt x="2560547" y="4660354"/>
                    <a:pt x="2552577" y="4660065"/>
                    <a:pt x="2544704" y="4660162"/>
                  </a:cubicBezTo>
                  <a:cubicBezTo>
                    <a:pt x="2530878" y="4660449"/>
                    <a:pt x="2517052" y="4660546"/>
                    <a:pt x="2503225" y="4661026"/>
                  </a:cubicBezTo>
                  <a:cubicBezTo>
                    <a:pt x="2498808" y="4661218"/>
                    <a:pt x="2494297" y="4663619"/>
                    <a:pt x="2489975" y="4663235"/>
                  </a:cubicBezTo>
                  <a:cubicBezTo>
                    <a:pt x="2470004" y="4661410"/>
                    <a:pt x="2450033" y="4658529"/>
                    <a:pt x="2430061" y="4656897"/>
                  </a:cubicBezTo>
                  <a:cubicBezTo>
                    <a:pt x="2418732" y="4655938"/>
                    <a:pt x="2407114" y="4657761"/>
                    <a:pt x="2395880" y="4656417"/>
                  </a:cubicBezTo>
                  <a:cubicBezTo>
                    <a:pt x="2382919" y="4654881"/>
                    <a:pt x="2370245" y="4650945"/>
                    <a:pt x="2357378" y="4648544"/>
                  </a:cubicBezTo>
                  <a:cubicBezTo>
                    <a:pt x="2353826" y="4647872"/>
                    <a:pt x="2349889" y="4648736"/>
                    <a:pt x="2346145" y="4648928"/>
                  </a:cubicBezTo>
                  <a:cubicBezTo>
                    <a:pt x="2341920" y="4649120"/>
                    <a:pt x="2337791" y="4649504"/>
                    <a:pt x="2333567" y="4649600"/>
                  </a:cubicBezTo>
                  <a:cubicBezTo>
                    <a:pt x="2320700" y="4649793"/>
                    <a:pt x="2307835" y="4649504"/>
                    <a:pt x="2294968" y="4650177"/>
                  </a:cubicBezTo>
                  <a:cubicBezTo>
                    <a:pt x="2287095" y="4650561"/>
                    <a:pt x="2278839" y="4654497"/>
                    <a:pt x="2271540" y="4653057"/>
                  </a:cubicBezTo>
                  <a:cubicBezTo>
                    <a:pt x="2256659" y="4650272"/>
                    <a:pt x="2241776" y="4656513"/>
                    <a:pt x="2226895" y="4651329"/>
                  </a:cubicBezTo>
                  <a:cubicBezTo>
                    <a:pt x="2222285" y="4649793"/>
                    <a:pt x="2215948" y="4653633"/>
                    <a:pt x="2210379" y="4653825"/>
                  </a:cubicBezTo>
                  <a:cubicBezTo>
                    <a:pt x="2196457" y="4654305"/>
                    <a:pt x="2182535" y="4654209"/>
                    <a:pt x="2168613" y="4654113"/>
                  </a:cubicBezTo>
                  <a:cubicBezTo>
                    <a:pt x="2156131" y="4654017"/>
                    <a:pt x="2143168" y="4655361"/>
                    <a:pt x="2131167" y="4652673"/>
                  </a:cubicBezTo>
                  <a:cubicBezTo>
                    <a:pt x="2118588" y="4649793"/>
                    <a:pt x="2107259" y="4650177"/>
                    <a:pt x="2095065" y="4653441"/>
                  </a:cubicBezTo>
                  <a:cubicBezTo>
                    <a:pt x="2086711" y="4655649"/>
                    <a:pt x="2077878" y="4655938"/>
                    <a:pt x="2069237" y="4656609"/>
                  </a:cubicBezTo>
                  <a:cubicBezTo>
                    <a:pt x="2059924" y="4657377"/>
                    <a:pt x="2049650" y="4655361"/>
                    <a:pt x="2041201" y="4658529"/>
                  </a:cubicBezTo>
                  <a:cubicBezTo>
                    <a:pt x="2016044" y="4667939"/>
                    <a:pt x="1990216" y="4669955"/>
                    <a:pt x="1963909" y="4669955"/>
                  </a:cubicBezTo>
                  <a:cubicBezTo>
                    <a:pt x="1959107" y="4669955"/>
                    <a:pt x="1954210" y="4668612"/>
                    <a:pt x="1949603" y="4667171"/>
                  </a:cubicBezTo>
                  <a:cubicBezTo>
                    <a:pt x="1922717" y="4658529"/>
                    <a:pt x="1895737" y="4659297"/>
                    <a:pt x="1868373" y="4664578"/>
                  </a:cubicBezTo>
                  <a:cubicBezTo>
                    <a:pt x="1862708" y="4665731"/>
                    <a:pt x="1856372" y="4665923"/>
                    <a:pt x="1850707" y="4664771"/>
                  </a:cubicBezTo>
                  <a:cubicBezTo>
                    <a:pt x="1834768" y="4661410"/>
                    <a:pt x="1819309" y="4655841"/>
                    <a:pt x="1803275" y="4653441"/>
                  </a:cubicBezTo>
                  <a:cubicBezTo>
                    <a:pt x="1776775" y="4649504"/>
                    <a:pt x="1753828" y="4662754"/>
                    <a:pt x="1730112" y="4671396"/>
                  </a:cubicBezTo>
                  <a:cubicBezTo>
                    <a:pt x="1707548" y="4679557"/>
                    <a:pt x="1688345" y="4697992"/>
                    <a:pt x="1661652" y="4693863"/>
                  </a:cubicBezTo>
                  <a:cubicBezTo>
                    <a:pt x="1658965" y="4693479"/>
                    <a:pt x="1655988" y="4696071"/>
                    <a:pt x="1653011" y="4696744"/>
                  </a:cubicBezTo>
                  <a:cubicBezTo>
                    <a:pt x="1644850" y="4698568"/>
                    <a:pt x="1636689" y="4700776"/>
                    <a:pt x="1628431" y="4701641"/>
                  </a:cubicBezTo>
                  <a:cubicBezTo>
                    <a:pt x="1618350" y="4702793"/>
                    <a:pt x="1608076" y="4702409"/>
                    <a:pt x="1597995" y="4703369"/>
                  </a:cubicBezTo>
                  <a:cubicBezTo>
                    <a:pt x="1585032" y="4704521"/>
                    <a:pt x="1572263" y="4707593"/>
                    <a:pt x="1559396" y="4707593"/>
                  </a:cubicBezTo>
                  <a:cubicBezTo>
                    <a:pt x="1549026" y="4707593"/>
                    <a:pt x="1538753" y="4704041"/>
                    <a:pt x="1528480" y="4702312"/>
                  </a:cubicBezTo>
                  <a:cubicBezTo>
                    <a:pt x="1513981" y="4699912"/>
                    <a:pt x="1498042" y="4700584"/>
                    <a:pt x="1485272" y="4694439"/>
                  </a:cubicBezTo>
                  <a:cubicBezTo>
                    <a:pt x="1471639" y="4687910"/>
                    <a:pt x="1458676" y="4684934"/>
                    <a:pt x="1444562" y="4686950"/>
                  </a:cubicBezTo>
                  <a:cubicBezTo>
                    <a:pt x="1439857" y="4687622"/>
                    <a:pt x="1433808" y="4691655"/>
                    <a:pt x="1431696" y="4695783"/>
                  </a:cubicBezTo>
                  <a:cubicBezTo>
                    <a:pt x="1426991" y="4705001"/>
                    <a:pt x="1420559" y="4706634"/>
                    <a:pt x="1411821" y="4703464"/>
                  </a:cubicBezTo>
                  <a:cubicBezTo>
                    <a:pt x="1404236" y="4700776"/>
                    <a:pt x="1394922" y="4699432"/>
                    <a:pt x="1389738" y="4694247"/>
                  </a:cubicBezTo>
                  <a:cubicBezTo>
                    <a:pt x="1375047" y="4679557"/>
                    <a:pt x="1356324" y="4679077"/>
                    <a:pt x="1338081" y="4675141"/>
                  </a:cubicBezTo>
                  <a:cubicBezTo>
                    <a:pt x="1326945" y="4672739"/>
                    <a:pt x="1316574" y="4672644"/>
                    <a:pt x="1305436" y="4674276"/>
                  </a:cubicBezTo>
                  <a:cubicBezTo>
                    <a:pt x="1281241" y="4677925"/>
                    <a:pt x="1257717" y="4672739"/>
                    <a:pt x="1234481" y="4666115"/>
                  </a:cubicBezTo>
                  <a:cubicBezTo>
                    <a:pt x="1219118" y="4661698"/>
                    <a:pt x="1203372" y="4659010"/>
                    <a:pt x="1188106" y="4654497"/>
                  </a:cubicBezTo>
                  <a:cubicBezTo>
                    <a:pt x="1176680" y="4651041"/>
                    <a:pt x="1165255" y="4646912"/>
                    <a:pt x="1154790" y="4641343"/>
                  </a:cubicBezTo>
                  <a:cubicBezTo>
                    <a:pt x="1139618" y="4633181"/>
                    <a:pt x="1126369" y="4620891"/>
                    <a:pt x="1107069" y="4624156"/>
                  </a:cubicBezTo>
                  <a:cubicBezTo>
                    <a:pt x="1090074" y="4627036"/>
                    <a:pt x="1074713" y="4620988"/>
                    <a:pt x="1059158" y="4615227"/>
                  </a:cubicBezTo>
                  <a:cubicBezTo>
                    <a:pt x="1047732" y="4611002"/>
                    <a:pt x="1036308" y="4606681"/>
                    <a:pt x="1024496" y="4603993"/>
                  </a:cubicBezTo>
                  <a:cubicBezTo>
                    <a:pt x="1010478" y="4600824"/>
                    <a:pt x="994635" y="4602169"/>
                    <a:pt x="982153" y="4596311"/>
                  </a:cubicBezTo>
                  <a:cubicBezTo>
                    <a:pt x="969095" y="4590166"/>
                    <a:pt x="958246" y="4594295"/>
                    <a:pt x="946628" y="4596024"/>
                  </a:cubicBezTo>
                  <a:cubicBezTo>
                    <a:pt x="928097" y="4598712"/>
                    <a:pt x="909661" y="4603705"/>
                    <a:pt x="890939" y="4597368"/>
                  </a:cubicBezTo>
                  <a:cubicBezTo>
                    <a:pt x="868184" y="4589687"/>
                    <a:pt x="845620" y="4581430"/>
                    <a:pt x="822769" y="4574133"/>
                  </a:cubicBezTo>
                  <a:cubicBezTo>
                    <a:pt x="813934" y="4571347"/>
                    <a:pt x="804431" y="4570195"/>
                    <a:pt x="795212" y="4568947"/>
                  </a:cubicBezTo>
                  <a:cubicBezTo>
                    <a:pt x="786476" y="4567891"/>
                    <a:pt x="776010" y="4570579"/>
                    <a:pt x="769288" y="4566547"/>
                  </a:cubicBezTo>
                  <a:cubicBezTo>
                    <a:pt x="752005" y="4556178"/>
                    <a:pt x="734243" y="4551089"/>
                    <a:pt x="714271" y="4551089"/>
                  </a:cubicBezTo>
                  <a:cubicBezTo>
                    <a:pt x="706781" y="4551089"/>
                    <a:pt x="699484" y="4546768"/>
                    <a:pt x="691900" y="4545999"/>
                  </a:cubicBezTo>
                  <a:cubicBezTo>
                    <a:pt x="681529" y="4545040"/>
                    <a:pt x="669623" y="4542447"/>
                    <a:pt x="660598" y="4546096"/>
                  </a:cubicBezTo>
                  <a:cubicBezTo>
                    <a:pt x="639379" y="4554737"/>
                    <a:pt x="622193" y="4547536"/>
                    <a:pt x="603662" y="4538991"/>
                  </a:cubicBezTo>
                  <a:cubicBezTo>
                    <a:pt x="585418" y="4530541"/>
                    <a:pt x="566215" y="4523821"/>
                    <a:pt x="546821" y="4518251"/>
                  </a:cubicBezTo>
                  <a:cubicBezTo>
                    <a:pt x="539524" y="4516235"/>
                    <a:pt x="530787" y="4519596"/>
                    <a:pt x="522721" y="4520267"/>
                  </a:cubicBezTo>
                  <a:cubicBezTo>
                    <a:pt x="519840" y="4520460"/>
                    <a:pt x="516671" y="4520748"/>
                    <a:pt x="514080" y="4519788"/>
                  </a:cubicBezTo>
                  <a:cubicBezTo>
                    <a:pt x="489020" y="4510570"/>
                    <a:pt x="463575" y="4503561"/>
                    <a:pt x="436404" y="4508361"/>
                  </a:cubicBezTo>
                  <a:cubicBezTo>
                    <a:pt x="433908" y="4508842"/>
                    <a:pt x="431123" y="4507786"/>
                    <a:pt x="428626" y="4507114"/>
                  </a:cubicBezTo>
                  <a:cubicBezTo>
                    <a:pt x="416432" y="4503657"/>
                    <a:pt x="404526" y="4498184"/>
                    <a:pt x="392141" y="4496936"/>
                  </a:cubicBezTo>
                  <a:cubicBezTo>
                    <a:pt x="361608" y="4493864"/>
                    <a:pt x="330884" y="4492615"/>
                    <a:pt x="300157" y="4490599"/>
                  </a:cubicBezTo>
                  <a:cubicBezTo>
                    <a:pt x="298237" y="4490503"/>
                    <a:pt x="296221" y="4490503"/>
                    <a:pt x="294493" y="4489831"/>
                  </a:cubicBezTo>
                  <a:cubicBezTo>
                    <a:pt x="283163" y="4485702"/>
                    <a:pt x="273274" y="4487047"/>
                    <a:pt x="263671" y="4494919"/>
                  </a:cubicBezTo>
                  <a:cubicBezTo>
                    <a:pt x="259447" y="4498376"/>
                    <a:pt x="253686" y="4500200"/>
                    <a:pt x="248406" y="4502121"/>
                  </a:cubicBezTo>
                  <a:cubicBezTo>
                    <a:pt x="240628" y="4505002"/>
                    <a:pt x="232659" y="4507786"/>
                    <a:pt x="224594" y="4509610"/>
                  </a:cubicBezTo>
                  <a:cubicBezTo>
                    <a:pt x="216624" y="4511338"/>
                    <a:pt x="208079" y="4513738"/>
                    <a:pt x="200398" y="4512395"/>
                  </a:cubicBezTo>
                  <a:cubicBezTo>
                    <a:pt x="186572" y="4509994"/>
                    <a:pt x="173417" y="4504618"/>
                    <a:pt x="159783" y="4501064"/>
                  </a:cubicBezTo>
                  <a:cubicBezTo>
                    <a:pt x="155079" y="4499816"/>
                    <a:pt x="149893" y="4500009"/>
                    <a:pt x="144997" y="4499912"/>
                  </a:cubicBezTo>
                  <a:cubicBezTo>
                    <a:pt x="133763" y="4499625"/>
                    <a:pt x="122241" y="4502409"/>
                    <a:pt x="112064" y="4494440"/>
                  </a:cubicBezTo>
                  <a:cubicBezTo>
                    <a:pt x="102655" y="4486951"/>
                    <a:pt x="93148" y="4489158"/>
                    <a:pt x="83259" y="4494824"/>
                  </a:cubicBezTo>
                  <a:cubicBezTo>
                    <a:pt x="76154" y="4498857"/>
                    <a:pt x="68090" y="4502025"/>
                    <a:pt x="60120" y="4503561"/>
                  </a:cubicBezTo>
                  <a:cubicBezTo>
                    <a:pt x="49174" y="4505673"/>
                    <a:pt x="38324" y="4506538"/>
                    <a:pt x="26514" y="4505289"/>
                  </a:cubicBezTo>
                  <a:cubicBezTo>
                    <a:pt x="18161" y="4504425"/>
                    <a:pt x="11343" y="4504041"/>
                    <a:pt x="4814" y="4498952"/>
                  </a:cubicBezTo>
                  <a:cubicBezTo>
                    <a:pt x="3759" y="4498184"/>
                    <a:pt x="1839" y="4497992"/>
                    <a:pt x="398" y="4498089"/>
                  </a:cubicBezTo>
                  <a:lnTo>
                    <a:pt x="0" y="4498087"/>
                  </a:lnTo>
                  <a:close/>
                </a:path>
              </a:pathLst>
            </a:cu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lt1">
                    <a:alpha val="14000"/>
                  </a:schemeClr>
                </a:solidFill>
              </a:endParaRPr>
            </a:p>
          </p:txBody>
        </p:sp>
        <p:sp>
          <p:nvSpPr>
            <p:cNvPr id="144399" name="Freeform: Shape 144398">
              <a:extLst>
                <a:ext uri="{FF2B5EF4-FFF2-40B4-BE49-F238E27FC236}">
                  <a16:creationId xmlns:a16="http://schemas.microsoft.com/office/drawing/2014/main" id="{EE5154B2-BEF9-4C08-B6B1-9DED9F17C4B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27089" y="1498602"/>
              <a:ext cx="4403345" cy="3940174"/>
            </a:xfrm>
            <a:custGeom>
              <a:avLst/>
              <a:gdLst>
                <a:gd name="connsiteX0" fmla="*/ 0 w 5260975"/>
                <a:gd name="connsiteY0" fmla="*/ 0 h 4707593"/>
                <a:gd name="connsiteX1" fmla="*/ 5260975 w 5260975"/>
                <a:gd name="connsiteY1" fmla="*/ 0 h 4707593"/>
                <a:gd name="connsiteX2" fmla="*/ 5260975 w 5260975"/>
                <a:gd name="connsiteY2" fmla="*/ 3296937 h 4707593"/>
                <a:gd name="connsiteX3" fmla="*/ 5260975 w 5260975"/>
                <a:gd name="connsiteY3" fmla="*/ 3518571 h 4707593"/>
                <a:gd name="connsiteX4" fmla="*/ 5226504 w 5260975"/>
                <a:gd name="connsiteY4" fmla="*/ 3534000 h 4707593"/>
                <a:gd name="connsiteX5" fmla="*/ 5206341 w 5260975"/>
                <a:gd name="connsiteY5" fmla="*/ 3542065 h 4707593"/>
                <a:gd name="connsiteX6" fmla="*/ 5123287 w 5260975"/>
                <a:gd name="connsiteY6" fmla="*/ 3594010 h 4707593"/>
                <a:gd name="connsiteX7" fmla="*/ 5048107 w 5260975"/>
                <a:gd name="connsiteY7" fmla="*/ 3658244 h 4707593"/>
                <a:gd name="connsiteX8" fmla="*/ 4992899 w 5260975"/>
                <a:gd name="connsiteY8" fmla="*/ 3734479 h 4707593"/>
                <a:gd name="connsiteX9" fmla="*/ 4977440 w 5260975"/>
                <a:gd name="connsiteY9" fmla="*/ 3752627 h 4707593"/>
                <a:gd name="connsiteX10" fmla="*/ 4935194 w 5260975"/>
                <a:gd name="connsiteY10" fmla="*/ 3775382 h 4707593"/>
                <a:gd name="connsiteX11" fmla="*/ 4897844 w 5260975"/>
                <a:gd name="connsiteY11" fmla="*/ 3792472 h 4707593"/>
                <a:gd name="connsiteX12" fmla="*/ 4870767 w 5260975"/>
                <a:gd name="connsiteY12" fmla="*/ 3811388 h 4707593"/>
                <a:gd name="connsiteX13" fmla="*/ 4847917 w 5260975"/>
                <a:gd name="connsiteY13" fmla="*/ 3828767 h 4707593"/>
                <a:gd name="connsiteX14" fmla="*/ 4796163 w 5260975"/>
                <a:gd name="connsiteY14" fmla="*/ 3873702 h 4707593"/>
                <a:gd name="connsiteX15" fmla="*/ 4738843 w 5260975"/>
                <a:gd name="connsiteY15" fmla="*/ 3911628 h 4707593"/>
                <a:gd name="connsiteX16" fmla="*/ 4692755 w 5260975"/>
                <a:gd name="connsiteY16" fmla="*/ 3958099 h 4707593"/>
                <a:gd name="connsiteX17" fmla="*/ 4673744 w 5260975"/>
                <a:gd name="connsiteY17" fmla="*/ 3983255 h 4707593"/>
                <a:gd name="connsiteX18" fmla="*/ 4633801 w 5260975"/>
                <a:gd name="connsiteY18" fmla="*/ 4000442 h 4707593"/>
                <a:gd name="connsiteX19" fmla="*/ 4590499 w 5260975"/>
                <a:gd name="connsiteY19" fmla="*/ 4027326 h 4707593"/>
                <a:gd name="connsiteX20" fmla="*/ 4559773 w 5260975"/>
                <a:gd name="connsiteY20" fmla="*/ 4054018 h 4707593"/>
                <a:gd name="connsiteX21" fmla="*/ 4536059 w 5260975"/>
                <a:gd name="connsiteY21" fmla="*/ 4071877 h 4707593"/>
                <a:gd name="connsiteX22" fmla="*/ 4502550 w 5260975"/>
                <a:gd name="connsiteY22" fmla="*/ 4089832 h 4707593"/>
                <a:gd name="connsiteX23" fmla="*/ 4468944 w 5260975"/>
                <a:gd name="connsiteY23" fmla="*/ 4113356 h 4707593"/>
                <a:gd name="connsiteX24" fmla="*/ 4452623 w 5260975"/>
                <a:gd name="connsiteY24" fmla="*/ 4127854 h 4707593"/>
                <a:gd name="connsiteX25" fmla="*/ 4421032 w 5260975"/>
                <a:gd name="connsiteY25" fmla="*/ 4151953 h 4707593"/>
                <a:gd name="connsiteX26" fmla="*/ 4388483 w 5260975"/>
                <a:gd name="connsiteY26" fmla="*/ 4174421 h 4707593"/>
                <a:gd name="connsiteX27" fmla="*/ 4327321 w 5260975"/>
                <a:gd name="connsiteY27" fmla="*/ 4200153 h 4707593"/>
                <a:gd name="connsiteX28" fmla="*/ 4271633 w 5260975"/>
                <a:gd name="connsiteY28" fmla="*/ 4237983 h 4707593"/>
                <a:gd name="connsiteX29" fmla="*/ 4227465 w 5260975"/>
                <a:gd name="connsiteY29" fmla="*/ 4265635 h 4707593"/>
                <a:gd name="connsiteX30" fmla="*/ 4201733 w 5260975"/>
                <a:gd name="connsiteY30" fmla="*/ 4283783 h 4707593"/>
                <a:gd name="connsiteX31" fmla="*/ 4154494 w 5260975"/>
                <a:gd name="connsiteY31" fmla="*/ 4324301 h 4707593"/>
                <a:gd name="connsiteX32" fmla="*/ 4081234 w 5260975"/>
                <a:gd name="connsiteY32" fmla="*/ 4366931 h 4707593"/>
                <a:gd name="connsiteX33" fmla="*/ 4036971 w 5260975"/>
                <a:gd name="connsiteY33" fmla="*/ 4389975 h 4707593"/>
                <a:gd name="connsiteX34" fmla="*/ 3941725 w 5260975"/>
                <a:gd name="connsiteY34" fmla="*/ 4424733 h 4707593"/>
                <a:gd name="connsiteX35" fmla="*/ 3910999 w 5260975"/>
                <a:gd name="connsiteY35" fmla="*/ 4437119 h 4707593"/>
                <a:gd name="connsiteX36" fmla="*/ 3875859 w 5260975"/>
                <a:gd name="connsiteY36" fmla="*/ 4445280 h 4707593"/>
                <a:gd name="connsiteX37" fmla="*/ 3819401 w 5260975"/>
                <a:gd name="connsiteY37" fmla="*/ 4464579 h 4707593"/>
                <a:gd name="connsiteX38" fmla="*/ 3709176 w 5260975"/>
                <a:gd name="connsiteY38" fmla="*/ 4497800 h 4707593"/>
                <a:gd name="connsiteX39" fmla="*/ 3684981 w 5260975"/>
                <a:gd name="connsiteY39" fmla="*/ 4502889 h 4707593"/>
                <a:gd name="connsiteX40" fmla="*/ 3623338 w 5260975"/>
                <a:gd name="connsiteY40" fmla="*/ 4524300 h 4707593"/>
                <a:gd name="connsiteX41" fmla="*/ 3586373 w 5260975"/>
                <a:gd name="connsiteY41" fmla="*/ 4538702 h 4707593"/>
                <a:gd name="connsiteX42" fmla="*/ 3555743 w 5260975"/>
                <a:gd name="connsiteY42" fmla="*/ 4546960 h 4707593"/>
                <a:gd name="connsiteX43" fmla="*/ 3528667 w 5260975"/>
                <a:gd name="connsiteY43" fmla="*/ 4550801 h 4707593"/>
                <a:gd name="connsiteX44" fmla="*/ 3457424 w 5260975"/>
                <a:gd name="connsiteY44" fmla="*/ 4569811 h 4707593"/>
                <a:gd name="connsiteX45" fmla="*/ 3429003 w 5260975"/>
                <a:gd name="connsiteY45" fmla="*/ 4577301 h 4707593"/>
                <a:gd name="connsiteX46" fmla="*/ 3355264 w 5260975"/>
                <a:gd name="connsiteY46" fmla="*/ 4603033 h 4707593"/>
                <a:gd name="connsiteX47" fmla="*/ 3292757 w 5260975"/>
                <a:gd name="connsiteY47" fmla="*/ 4620027 h 4707593"/>
                <a:gd name="connsiteX48" fmla="*/ 3266643 w 5260975"/>
                <a:gd name="connsiteY48" fmla="*/ 4628188 h 4707593"/>
                <a:gd name="connsiteX49" fmla="*/ 3206921 w 5260975"/>
                <a:gd name="connsiteY49" fmla="*/ 4641823 h 4707593"/>
                <a:gd name="connsiteX50" fmla="*/ 3173123 w 5260975"/>
                <a:gd name="connsiteY50" fmla="*/ 4651425 h 4707593"/>
                <a:gd name="connsiteX51" fmla="*/ 3090646 w 5260975"/>
                <a:gd name="connsiteY51" fmla="*/ 4662274 h 4707593"/>
                <a:gd name="connsiteX52" fmla="*/ 3005480 w 5260975"/>
                <a:gd name="connsiteY52" fmla="*/ 4672739 h 4707593"/>
                <a:gd name="connsiteX53" fmla="*/ 2958721 w 5260975"/>
                <a:gd name="connsiteY53" fmla="*/ 4676196 h 4707593"/>
                <a:gd name="connsiteX54" fmla="*/ 2917915 w 5260975"/>
                <a:gd name="connsiteY54" fmla="*/ 4681670 h 4707593"/>
                <a:gd name="connsiteX55" fmla="*/ 2882389 w 5260975"/>
                <a:gd name="connsiteY55" fmla="*/ 4685126 h 4707593"/>
                <a:gd name="connsiteX56" fmla="*/ 2825837 w 5260975"/>
                <a:gd name="connsiteY56" fmla="*/ 4692135 h 4707593"/>
                <a:gd name="connsiteX57" fmla="*/ 2802313 w 5260975"/>
                <a:gd name="connsiteY57" fmla="*/ 4693960 h 4707593"/>
                <a:gd name="connsiteX58" fmla="*/ 2746816 w 5260975"/>
                <a:gd name="connsiteY58" fmla="*/ 4693863 h 4707593"/>
                <a:gd name="connsiteX59" fmla="*/ 2727517 w 5260975"/>
                <a:gd name="connsiteY59" fmla="*/ 4692903 h 4707593"/>
                <a:gd name="connsiteX60" fmla="*/ 2690359 w 5260975"/>
                <a:gd name="connsiteY60" fmla="*/ 4680997 h 4707593"/>
                <a:gd name="connsiteX61" fmla="*/ 2685943 w 5260975"/>
                <a:gd name="connsiteY61" fmla="*/ 4680133 h 4707593"/>
                <a:gd name="connsiteX62" fmla="*/ 2661554 w 5260975"/>
                <a:gd name="connsiteY62" fmla="*/ 4675428 h 4707593"/>
                <a:gd name="connsiteX63" fmla="*/ 2648208 w 5260975"/>
                <a:gd name="connsiteY63" fmla="*/ 4673892 h 4707593"/>
                <a:gd name="connsiteX64" fmla="*/ 2597512 w 5260975"/>
                <a:gd name="connsiteY64" fmla="*/ 4664099 h 4707593"/>
                <a:gd name="connsiteX65" fmla="*/ 2568324 w 5260975"/>
                <a:gd name="connsiteY65" fmla="*/ 4659490 h 4707593"/>
                <a:gd name="connsiteX66" fmla="*/ 2544704 w 5260975"/>
                <a:gd name="connsiteY66" fmla="*/ 4660162 h 4707593"/>
                <a:gd name="connsiteX67" fmla="*/ 2503225 w 5260975"/>
                <a:gd name="connsiteY67" fmla="*/ 4661026 h 4707593"/>
                <a:gd name="connsiteX68" fmla="*/ 2489975 w 5260975"/>
                <a:gd name="connsiteY68" fmla="*/ 4663235 h 4707593"/>
                <a:gd name="connsiteX69" fmla="*/ 2430061 w 5260975"/>
                <a:gd name="connsiteY69" fmla="*/ 4656897 h 4707593"/>
                <a:gd name="connsiteX70" fmla="*/ 2395880 w 5260975"/>
                <a:gd name="connsiteY70" fmla="*/ 4656417 h 4707593"/>
                <a:gd name="connsiteX71" fmla="*/ 2357378 w 5260975"/>
                <a:gd name="connsiteY71" fmla="*/ 4648544 h 4707593"/>
                <a:gd name="connsiteX72" fmla="*/ 2346145 w 5260975"/>
                <a:gd name="connsiteY72" fmla="*/ 4648928 h 4707593"/>
                <a:gd name="connsiteX73" fmla="*/ 2333567 w 5260975"/>
                <a:gd name="connsiteY73" fmla="*/ 4649600 h 4707593"/>
                <a:gd name="connsiteX74" fmla="*/ 2294968 w 5260975"/>
                <a:gd name="connsiteY74" fmla="*/ 4650177 h 4707593"/>
                <a:gd name="connsiteX75" fmla="*/ 2271540 w 5260975"/>
                <a:gd name="connsiteY75" fmla="*/ 4653057 h 4707593"/>
                <a:gd name="connsiteX76" fmla="*/ 2226895 w 5260975"/>
                <a:gd name="connsiteY76" fmla="*/ 4651329 h 4707593"/>
                <a:gd name="connsiteX77" fmla="*/ 2210379 w 5260975"/>
                <a:gd name="connsiteY77" fmla="*/ 4653825 h 4707593"/>
                <a:gd name="connsiteX78" fmla="*/ 2168613 w 5260975"/>
                <a:gd name="connsiteY78" fmla="*/ 4654113 h 4707593"/>
                <a:gd name="connsiteX79" fmla="*/ 2131167 w 5260975"/>
                <a:gd name="connsiteY79" fmla="*/ 4652673 h 4707593"/>
                <a:gd name="connsiteX80" fmla="*/ 2095065 w 5260975"/>
                <a:gd name="connsiteY80" fmla="*/ 4653441 h 4707593"/>
                <a:gd name="connsiteX81" fmla="*/ 2069237 w 5260975"/>
                <a:gd name="connsiteY81" fmla="*/ 4656609 h 4707593"/>
                <a:gd name="connsiteX82" fmla="*/ 2041201 w 5260975"/>
                <a:gd name="connsiteY82" fmla="*/ 4658529 h 4707593"/>
                <a:gd name="connsiteX83" fmla="*/ 1963909 w 5260975"/>
                <a:gd name="connsiteY83" fmla="*/ 4669955 h 4707593"/>
                <a:gd name="connsiteX84" fmla="*/ 1949603 w 5260975"/>
                <a:gd name="connsiteY84" fmla="*/ 4667171 h 4707593"/>
                <a:gd name="connsiteX85" fmla="*/ 1868373 w 5260975"/>
                <a:gd name="connsiteY85" fmla="*/ 4664578 h 4707593"/>
                <a:gd name="connsiteX86" fmla="*/ 1850707 w 5260975"/>
                <a:gd name="connsiteY86" fmla="*/ 4664771 h 4707593"/>
                <a:gd name="connsiteX87" fmla="*/ 1803275 w 5260975"/>
                <a:gd name="connsiteY87" fmla="*/ 4653441 h 4707593"/>
                <a:gd name="connsiteX88" fmla="*/ 1730112 w 5260975"/>
                <a:gd name="connsiteY88" fmla="*/ 4671396 h 4707593"/>
                <a:gd name="connsiteX89" fmla="*/ 1661652 w 5260975"/>
                <a:gd name="connsiteY89" fmla="*/ 4693863 h 4707593"/>
                <a:gd name="connsiteX90" fmla="*/ 1653011 w 5260975"/>
                <a:gd name="connsiteY90" fmla="*/ 4696744 h 4707593"/>
                <a:gd name="connsiteX91" fmla="*/ 1628431 w 5260975"/>
                <a:gd name="connsiteY91" fmla="*/ 4701641 h 4707593"/>
                <a:gd name="connsiteX92" fmla="*/ 1597995 w 5260975"/>
                <a:gd name="connsiteY92" fmla="*/ 4703369 h 4707593"/>
                <a:gd name="connsiteX93" fmla="*/ 1559396 w 5260975"/>
                <a:gd name="connsiteY93" fmla="*/ 4707593 h 4707593"/>
                <a:gd name="connsiteX94" fmla="*/ 1528480 w 5260975"/>
                <a:gd name="connsiteY94" fmla="*/ 4702312 h 4707593"/>
                <a:gd name="connsiteX95" fmla="*/ 1485272 w 5260975"/>
                <a:gd name="connsiteY95" fmla="*/ 4694439 h 4707593"/>
                <a:gd name="connsiteX96" fmla="*/ 1444562 w 5260975"/>
                <a:gd name="connsiteY96" fmla="*/ 4686950 h 4707593"/>
                <a:gd name="connsiteX97" fmla="*/ 1431696 w 5260975"/>
                <a:gd name="connsiteY97" fmla="*/ 4695783 h 4707593"/>
                <a:gd name="connsiteX98" fmla="*/ 1411821 w 5260975"/>
                <a:gd name="connsiteY98" fmla="*/ 4703464 h 4707593"/>
                <a:gd name="connsiteX99" fmla="*/ 1389738 w 5260975"/>
                <a:gd name="connsiteY99" fmla="*/ 4694247 h 4707593"/>
                <a:gd name="connsiteX100" fmla="*/ 1338081 w 5260975"/>
                <a:gd name="connsiteY100" fmla="*/ 4675141 h 4707593"/>
                <a:gd name="connsiteX101" fmla="*/ 1305436 w 5260975"/>
                <a:gd name="connsiteY101" fmla="*/ 4674276 h 4707593"/>
                <a:gd name="connsiteX102" fmla="*/ 1234481 w 5260975"/>
                <a:gd name="connsiteY102" fmla="*/ 4666115 h 4707593"/>
                <a:gd name="connsiteX103" fmla="*/ 1188106 w 5260975"/>
                <a:gd name="connsiteY103" fmla="*/ 4654497 h 4707593"/>
                <a:gd name="connsiteX104" fmla="*/ 1154790 w 5260975"/>
                <a:gd name="connsiteY104" fmla="*/ 4641343 h 4707593"/>
                <a:gd name="connsiteX105" fmla="*/ 1107069 w 5260975"/>
                <a:gd name="connsiteY105" fmla="*/ 4624156 h 4707593"/>
                <a:gd name="connsiteX106" fmla="*/ 1059158 w 5260975"/>
                <a:gd name="connsiteY106" fmla="*/ 4615227 h 4707593"/>
                <a:gd name="connsiteX107" fmla="*/ 1024496 w 5260975"/>
                <a:gd name="connsiteY107" fmla="*/ 4603993 h 4707593"/>
                <a:gd name="connsiteX108" fmla="*/ 982153 w 5260975"/>
                <a:gd name="connsiteY108" fmla="*/ 4596311 h 4707593"/>
                <a:gd name="connsiteX109" fmla="*/ 946628 w 5260975"/>
                <a:gd name="connsiteY109" fmla="*/ 4596024 h 4707593"/>
                <a:gd name="connsiteX110" fmla="*/ 890939 w 5260975"/>
                <a:gd name="connsiteY110" fmla="*/ 4597368 h 4707593"/>
                <a:gd name="connsiteX111" fmla="*/ 822769 w 5260975"/>
                <a:gd name="connsiteY111" fmla="*/ 4574133 h 4707593"/>
                <a:gd name="connsiteX112" fmla="*/ 795212 w 5260975"/>
                <a:gd name="connsiteY112" fmla="*/ 4568947 h 4707593"/>
                <a:gd name="connsiteX113" fmla="*/ 769288 w 5260975"/>
                <a:gd name="connsiteY113" fmla="*/ 4566547 h 4707593"/>
                <a:gd name="connsiteX114" fmla="*/ 714271 w 5260975"/>
                <a:gd name="connsiteY114" fmla="*/ 4551089 h 4707593"/>
                <a:gd name="connsiteX115" fmla="*/ 691900 w 5260975"/>
                <a:gd name="connsiteY115" fmla="*/ 4545999 h 4707593"/>
                <a:gd name="connsiteX116" fmla="*/ 660598 w 5260975"/>
                <a:gd name="connsiteY116" fmla="*/ 4546096 h 4707593"/>
                <a:gd name="connsiteX117" fmla="*/ 603662 w 5260975"/>
                <a:gd name="connsiteY117" fmla="*/ 4538991 h 4707593"/>
                <a:gd name="connsiteX118" fmla="*/ 546821 w 5260975"/>
                <a:gd name="connsiteY118" fmla="*/ 4518251 h 4707593"/>
                <a:gd name="connsiteX119" fmla="*/ 522721 w 5260975"/>
                <a:gd name="connsiteY119" fmla="*/ 4520267 h 4707593"/>
                <a:gd name="connsiteX120" fmla="*/ 514080 w 5260975"/>
                <a:gd name="connsiteY120" fmla="*/ 4519788 h 4707593"/>
                <a:gd name="connsiteX121" fmla="*/ 436404 w 5260975"/>
                <a:gd name="connsiteY121" fmla="*/ 4508361 h 4707593"/>
                <a:gd name="connsiteX122" fmla="*/ 428626 w 5260975"/>
                <a:gd name="connsiteY122" fmla="*/ 4507114 h 4707593"/>
                <a:gd name="connsiteX123" fmla="*/ 392141 w 5260975"/>
                <a:gd name="connsiteY123" fmla="*/ 4496936 h 4707593"/>
                <a:gd name="connsiteX124" fmla="*/ 300157 w 5260975"/>
                <a:gd name="connsiteY124" fmla="*/ 4490599 h 4707593"/>
                <a:gd name="connsiteX125" fmla="*/ 294493 w 5260975"/>
                <a:gd name="connsiteY125" fmla="*/ 4489831 h 4707593"/>
                <a:gd name="connsiteX126" fmla="*/ 263671 w 5260975"/>
                <a:gd name="connsiteY126" fmla="*/ 4494919 h 4707593"/>
                <a:gd name="connsiteX127" fmla="*/ 248406 w 5260975"/>
                <a:gd name="connsiteY127" fmla="*/ 4502121 h 4707593"/>
                <a:gd name="connsiteX128" fmla="*/ 224594 w 5260975"/>
                <a:gd name="connsiteY128" fmla="*/ 4509610 h 4707593"/>
                <a:gd name="connsiteX129" fmla="*/ 200398 w 5260975"/>
                <a:gd name="connsiteY129" fmla="*/ 4512395 h 4707593"/>
                <a:gd name="connsiteX130" fmla="*/ 159783 w 5260975"/>
                <a:gd name="connsiteY130" fmla="*/ 4501064 h 4707593"/>
                <a:gd name="connsiteX131" fmla="*/ 144997 w 5260975"/>
                <a:gd name="connsiteY131" fmla="*/ 4499912 h 4707593"/>
                <a:gd name="connsiteX132" fmla="*/ 112064 w 5260975"/>
                <a:gd name="connsiteY132" fmla="*/ 4494440 h 4707593"/>
                <a:gd name="connsiteX133" fmla="*/ 83259 w 5260975"/>
                <a:gd name="connsiteY133" fmla="*/ 4494824 h 4707593"/>
                <a:gd name="connsiteX134" fmla="*/ 60120 w 5260975"/>
                <a:gd name="connsiteY134" fmla="*/ 4503561 h 4707593"/>
                <a:gd name="connsiteX135" fmla="*/ 26514 w 5260975"/>
                <a:gd name="connsiteY135" fmla="*/ 4505289 h 4707593"/>
                <a:gd name="connsiteX136" fmla="*/ 4814 w 5260975"/>
                <a:gd name="connsiteY136" fmla="*/ 4498952 h 4707593"/>
                <a:gd name="connsiteX137" fmla="*/ 398 w 5260975"/>
                <a:gd name="connsiteY137" fmla="*/ 4498089 h 4707593"/>
                <a:gd name="connsiteX138" fmla="*/ 0 w 5260975"/>
                <a:gd name="connsiteY138" fmla="*/ 4498087 h 4707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5260975" h="4707593">
                  <a:moveTo>
                    <a:pt x="0" y="0"/>
                  </a:moveTo>
                  <a:lnTo>
                    <a:pt x="5260975" y="0"/>
                  </a:lnTo>
                  <a:lnTo>
                    <a:pt x="5260975" y="3296937"/>
                  </a:lnTo>
                  <a:lnTo>
                    <a:pt x="5260975" y="3518571"/>
                  </a:lnTo>
                  <a:lnTo>
                    <a:pt x="5226504" y="3534000"/>
                  </a:lnTo>
                  <a:cubicBezTo>
                    <a:pt x="5219783" y="3536785"/>
                    <a:pt x="5212389" y="3538321"/>
                    <a:pt x="5206341" y="3542065"/>
                  </a:cubicBezTo>
                  <a:cubicBezTo>
                    <a:pt x="5178495" y="3559156"/>
                    <a:pt x="5151515" y="3577591"/>
                    <a:pt x="5123287" y="3594010"/>
                  </a:cubicBezTo>
                  <a:cubicBezTo>
                    <a:pt x="5094195" y="3611004"/>
                    <a:pt x="5068175" y="3631071"/>
                    <a:pt x="5048107" y="3658244"/>
                  </a:cubicBezTo>
                  <a:cubicBezTo>
                    <a:pt x="5029480" y="3683496"/>
                    <a:pt x="5011429" y="3709131"/>
                    <a:pt x="4992899" y="3734479"/>
                  </a:cubicBezTo>
                  <a:cubicBezTo>
                    <a:pt x="4988194" y="3740912"/>
                    <a:pt x="4983874" y="3748498"/>
                    <a:pt x="4977440" y="3752627"/>
                  </a:cubicBezTo>
                  <a:cubicBezTo>
                    <a:pt x="4964094" y="3761268"/>
                    <a:pt x="4949500" y="3768277"/>
                    <a:pt x="4935194" y="3775382"/>
                  </a:cubicBezTo>
                  <a:cubicBezTo>
                    <a:pt x="4922903" y="3781431"/>
                    <a:pt x="4909846" y="3785943"/>
                    <a:pt x="4897844" y="3792472"/>
                  </a:cubicBezTo>
                  <a:cubicBezTo>
                    <a:pt x="4888243" y="3797658"/>
                    <a:pt x="4879697" y="3804859"/>
                    <a:pt x="4870767" y="3811388"/>
                  </a:cubicBezTo>
                  <a:cubicBezTo>
                    <a:pt x="4862990" y="3817052"/>
                    <a:pt x="4854445" y="3821949"/>
                    <a:pt x="4847917" y="3828767"/>
                  </a:cubicBezTo>
                  <a:cubicBezTo>
                    <a:pt x="4831977" y="3845281"/>
                    <a:pt x="4815942" y="3861508"/>
                    <a:pt x="4796163" y="3873702"/>
                  </a:cubicBezTo>
                  <a:cubicBezTo>
                    <a:pt x="4776672" y="3885799"/>
                    <a:pt x="4758237" y="3899338"/>
                    <a:pt x="4738843" y="3911628"/>
                  </a:cubicBezTo>
                  <a:cubicBezTo>
                    <a:pt x="4719831" y="3923630"/>
                    <a:pt x="4702645" y="3936783"/>
                    <a:pt x="4692755" y="3958099"/>
                  </a:cubicBezTo>
                  <a:cubicBezTo>
                    <a:pt x="4688339" y="3967508"/>
                    <a:pt x="4682097" y="3977782"/>
                    <a:pt x="4673744" y="3983255"/>
                  </a:cubicBezTo>
                  <a:cubicBezTo>
                    <a:pt x="4661838" y="3991032"/>
                    <a:pt x="4646764" y="3993817"/>
                    <a:pt x="4633801" y="4000442"/>
                  </a:cubicBezTo>
                  <a:cubicBezTo>
                    <a:pt x="4618535" y="4008219"/>
                    <a:pt x="4600869" y="4014940"/>
                    <a:pt x="4590499" y="4027326"/>
                  </a:cubicBezTo>
                  <a:cubicBezTo>
                    <a:pt x="4581281" y="4038368"/>
                    <a:pt x="4571968" y="4047009"/>
                    <a:pt x="4559773" y="4054018"/>
                  </a:cubicBezTo>
                  <a:cubicBezTo>
                    <a:pt x="4551229" y="4058915"/>
                    <a:pt x="4544892" y="4067844"/>
                    <a:pt x="4536059" y="4071877"/>
                  </a:cubicBezTo>
                  <a:cubicBezTo>
                    <a:pt x="4524442" y="4077254"/>
                    <a:pt x="4512727" y="4081479"/>
                    <a:pt x="4502550" y="4089832"/>
                  </a:cubicBezTo>
                  <a:cubicBezTo>
                    <a:pt x="4491987" y="4098473"/>
                    <a:pt x="4479986" y="4105290"/>
                    <a:pt x="4468944" y="4113356"/>
                  </a:cubicBezTo>
                  <a:cubicBezTo>
                    <a:pt x="4463087" y="4117676"/>
                    <a:pt x="4458286" y="4123341"/>
                    <a:pt x="4452623" y="4127854"/>
                  </a:cubicBezTo>
                  <a:cubicBezTo>
                    <a:pt x="4442252" y="4136111"/>
                    <a:pt x="4431690" y="4144176"/>
                    <a:pt x="4421032" y="4151953"/>
                  </a:cubicBezTo>
                  <a:cubicBezTo>
                    <a:pt x="4410375" y="4159731"/>
                    <a:pt x="4400197" y="4168756"/>
                    <a:pt x="4388483" y="4174421"/>
                  </a:cubicBezTo>
                  <a:cubicBezTo>
                    <a:pt x="4368513" y="4184023"/>
                    <a:pt x="4346717" y="4189784"/>
                    <a:pt x="4327321" y="4200153"/>
                  </a:cubicBezTo>
                  <a:cubicBezTo>
                    <a:pt x="4307639" y="4210714"/>
                    <a:pt x="4289107" y="4223965"/>
                    <a:pt x="4271633" y="4237983"/>
                  </a:cubicBezTo>
                  <a:cubicBezTo>
                    <a:pt x="4257807" y="4249025"/>
                    <a:pt x="4244845" y="4259971"/>
                    <a:pt x="4227465" y="4265635"/>
                  </a:cubicBezTo>
                  <a:cubicBezTo>
                    <a:pt x="4217768" y="4268804"/>
                    <a:pt x="4207591" y="4275717"/>
                    <a:pt x="4201733" y="4283783"/>
                  </a:cubicBezTo>
                  <a:cubicBezTo>
                    <a:pt x="4189059" y="4301353"/>
                    <a:pt x="4172833" y="4313739"/>
                    <a:pt x="4154494" y="4324301"/>
                  </a:cubicBezTo>
                  <a:cubicBezTo>
                    <a:pt x="4130010" y="4338511"/>
                    <a:pt x="4105814" y="4353009"/>
                    <a:pt x="4081234" y="4366931"/>
                  </a:cubicBezTo>
                  <a:cubicBezTo>
                    <a:pt x="4066737" y="4375189"/>
                    <a:pt x="4052335" y="4383926"/>
                    <a:pt x="4036971" y="4389975"/>
                  </a:cubicBezTo>
                  <a:cubicBezTo>
                    <a:pt x="4005575" y="4402457"/>
                    <a:pt x="3973410" y="4413114"/>
                    <a:pt x="3941725" y="4424733"/>
                  </a:cubicBezTo>
                  <a:cubicBezTo>
                    <a:pt x="3931355" y="4428477"/>
                    <a:pt x="3921561" y="4433854"/>
                    <a:pt x="3910999" y="4437119"/>
                  </a:cubicBezTo>
                  <a:cubicBezTo>
                    <a:pt x="3899573" y="4440671"/>
                    <a:pt x="3887285" y="4441727"/>
                    <a:pt x="3875859" y="4445280"/>
                  </a:cubicBezTo>
                  <a:cubicBezTo>
                    <a:pt x="3856847" y="4451136"/>
                    <a:pt x="3838412" y="4458626"/>
                    <a:pt x="3819401" y="4464579"/>
                  </a:cubicBezTo>
                  <a:cubicBezTo>
                    <a:pt x="3782723" y="4476005"/>
                    <a:pt x="3745949" y="4486951"/>
                    <a:pt x="3709176" y="4497800"/>
                  </a:cubicBezTo>
                  <a:cubicBezTo>
                    <a:pt x="3701303" y="4500105"/>
                    <a:pt x="3692757" y="4500393"/>
                    <a:pt x="3684981" y="4502889"/>
                  </a:cubicBezTo>
                  <a:cubicBezTo>
                    <a:pt x="3664337" y="4509610"/>
                    <a:pt x="3643789" y="4516907"/>
                    <a:pt x="3623338" y="4524300"/>
                  </a:cubicBezTo>
                  <a:cubicBezTo>
                    <a:pt x="3610953" y="4528813"/>
                    <a:pt x="3598854" y="4534382"/>
                    <a:pt x="3586373" y="4538702"/>
                  </a:cubicBezTo>
                  <a:cubicBezTo>
                    <a:pt x="3576387" y="4542159"/>
                    <a:pt x="3566113" y="4544847"/>
                    <a:pt x="3555743" y="4546960"/>
                  </a:cubicBezTo>
                  <a:cubicBezTo>
                    <a:pt x="3546814" y="4548785"/>
                    <a:pt x="3537501" y="4548592"/>
                    <a:pt x="3528667" y="4550801"/>
                  </a:cubicBezTo>
                  <a:cubicBezTo>
                    <a:pt x="3504759" y="4556753"/>
                    <a:pt x="3481140" y="4563475"/>
                    <a:pt x="3457424" y="4569811"/>
                  </a:cubicBezTo>
                  <a:cubicBezTo>
                    <a:pt x="3447919" y="4572308"/>
                    <a:pt x="3438221" y="4574133"/>
                    <a:pt x="3429003" y="4577301"/>
                  </a:cubicBezTo>
                  <a:cubicBezTo>
                    <a:pt x="3404327" y="4585654"/>
                    <a:pt x="3380036" y="4595159"/>
                    <a:pt x="3355264" y="4603033"/>
                  </a:cubicBezTo>
                  <a:cubicBezTo>
                    <a:pt x="3334717" y="4609562"/>
                    <a:pt x="3313593" y="4614266"/>
                    <a:pt x="3292757" y="4620027"/>
                  </a:cubicBezTo>
                  <a:cubicBezTo>
                    <a:pt x="3283924" y="4622524"/>
                    <a:pt x="3275475" y="4626077"/>
                    <a:pt x="3266643" y="4628188"/>
                  </a:cubicBezTo>
                  <a:cubicBezTo>
                    <a:pt x="3246863" y="4632990"/>
                    <a:pt x="3226796" y="4637022"/>
                    <a:pt x="3206921" y="4641823"/>
                  </a:cubicBezTo>
                  <a:cubicBezTo>
                    <a:pt x="3195590" y="4644607"/>
                    <a:pt x="3184645" y="4649600"/>
                    <a:pt x="3173123" y="4651425"/>
                  </a:cubicBezTo>
                  <a:cubicBezTo>
                    <a:pt x="3145759" y="4655745"/>
                    <a:pt x="3118203" y="4658817"/>
                    <a:pt x="3090646" y="4662274"/>
                  </a:cubicBezTo>
                  <a:cubicBezTo>
                    <a:pt x="3062227" y="4665826"/>
                    <a:pt x="3033902" y="4669571"/>
                    <a:pt x="3005480" y="4672739"/>
                  </a:cubicBezTo>
                  <a:cubicBezTo>
                    <a:pt x="2989926" y="4674372"/>
                    <a:pt x="2974275" y="4674660"/>
                    <a:pt x="2958721" y="4676196"/>
                  </a:cubicBezTo>
                  <a:cubicBezTo>
                    <a:pt x="2945087" y="4677541"/>
                    <a:pt x="2931549" y="4680037"/>
                    <a:pt x="2917915" y="4681670"/>
                  </a:cubicBezTo>
                  <a:cubicBezTo>
                    <a:pt x="2906105" y="4683013"/>
                    <a:pt x="2894199" y="4683781"/>
                    <a:pt x="2882389" y="4685126"/>
                  </a:cubicBezTo>
                  <a:cubicBezTo>
                    <a:pt x="2863475" y="4687334"/>
                    <a:pt x="2844655" y="4689831"/>
                    <a:pt x="2825837" y="4692135"/>
                  </a:cubicBezTo>
                  <a:cubicBezTo>
                    <a:pt x="2817964" y="4692999"/>
                    <a:pt x="2809706" y="4695399"/>
                    <a:pt x="2802313" y="4693960"/>
                  </a:cubicBezTo>
                  <a:cubicBezTo>
                    <a:pt x="2783686" y="4690310"/>
                    <a:pt x="2765347" y="4691367"/>
                    <a:pt x="2746816" y="4693863"/>
                  </a:cubicBezTo>
                  <a:cubicBezTo>
                    <a:pt x="2740479" y="4694728"/>
                    <a:pt x="2733662" y="4694535"/>
                    <a:pt x="2727517" y="4692903"/>
                  </a:cubicBezTo>
                  <a:cubicBezTo>
                    <a:pt x="2714939" y="4689638"/>
                    <a:pt x="2702745" y="4685029"/>
                    <a:pt x="2690359" y="4680997"/>
                  </a:cubicBezTo>
                  <a:cubicBezTo>
                    <a:pt x="2689014" y="4680517"/>
                    <a:pt x="2687382" y="4680421"/>
                    <a:pt x="2685943" y="4680133"/>
                  </a:cubicBezTo>
                  <a:cubicBezTo>
                    <a:pt x="2677781" y="4678500"/>
                    <a:pt x="2669717" y="4676868"/>
                    <a:pt x="2661554" y="4675428"/>
                  </a:cubicBezTo>
                  <a:cubicBezTo>
                    <a:pt x="2657138" y="4674660"/>
                    <a:pt x="2652625" y="4674564"/>
                    <a:pt x="2648208" y="4673892"/>
                  </a:cubicBezTo>
                  <a:cubicBezTo>
                    <a:pt x="2631118" y="4671203"/>
                    <a:pt x="2612299" y="4675716"/>
                    <a:pt x="2597512" y="4664099"/>
                  </a:cubicBezTo>
                  <a:cubicBezTo>
                    <a:pt x="2587911" y="4656609"/>
                    <a:pt x="2578597" y="4658338"/>
                    <a:pt x="2568324" y="4659490"/>
                  </a:cubicBezTo>
                  <a:cubicBezTo>
                    <a:pt x="2560547" y="4660354"/>
                    <a:pt x="2552577" y="4660065"/>
                    <a:pt x="2544704" y="4660162"/>
                  </a:cubicBezTo>
                  <a:cubicBezTo>
                    <a:pt x="2530878" y="4660449"/>
                    <a:pt x="2517052" y="4660546"/>
                    <a:pt x="2503225" y="4661026"/>
                  </a:cubicBezTo>
                  <a:cubicBezTo>
                    <a:pt x="2498808" y="4661218"/>
                    <a:pt x="2494297" y="4663619"/>
                    <a:pt x="2489975" y="4663235"/>
                  </a:cubicBezTo>
                  <a:cubicBezTo>
                    <a:pt x="2470004" y="4661410"/>
                    <a:pt x="2450033" y="4658529"/>
                    <a:pt x="2430061" y="4656897"/>
                  </a:cubicBezTo>
                  <a:cubicBezTo>
                    <a:pt x="2418732" y="4655938"/>
                    <a:pt x="2407114" y="4657761"/>
                    <a:pt x="2395880" y="4656417"/>
                  </a:cubicBezTo>
                  <a:cubicBezTo>
                    <a:pt x="2382919" y="4654881"/>
                    <a:pt x="2370245" y="4650945"/>
                    <a:pt x="2357378" y="4648544"/>
                  </a:cubicBezTo>
                  <a:cubicBezTo>
                    <a:pt x="2353826" y="4647872"/>
                    <a:pt x="2349889" y="4648736"/>
                    <a:pt x="2346145" y="4648928"/>
                  </a:cubicBezTo>
                  <a:cubicBezTo>
                    <a:pt x="2341920" y="4649120"/>
                    <a:pt x="2337791" y="4649504"/>
                    <a:pt x="2333567" y="4649600"/>
                  </a:cubicBezTo>
                  <a:cubicBezTo>
                    <a:pt x="2320700" y="4649793"/>
                    <a:pt x="2307835" y="4649504"/>
                    <a:pt x="2294968" y="4650177"/>
                  </a:cubicBezTo>
                  <a:cubicBezTo>
                    <a:pt x="2287095" y="4650561"/>
                    <a:pt x="2278839" y="4654497"/>
                    <a:pt x="2271540" y="4653057"/>
                  </a:cubicBezTo>
                  <a:cubicBezTo>
                    <a:pt x="2256659" y="4650272"/>
                    <a:pt x="2241776" y="4656513"/>
                    <a:pt x="2226895" y="4651329"/>
                  </a:cubicBezTo>
                  <a:cubicBezTo>
                    <a:pt x="2222285" y="4649793"/>
                    <a:pt x="2215948" y="4653633"/>
                    <a:pt x="2210379" y="4653825"/>
                  </a:cubicBezTo>
                  <a:cubicBezTo>
                    <a:pt x="2196457" y="4654305"/>
                    <a:pt x="2182535" y="4654209"/>
                    <a:pt x="2168613" y="4654113"/>
                  </a:cubicBezTo>
                  <a:cubicBezTo>
                    <a:pt x="2156131" y="4654017"/>
                    <a:pt x="2143168" y="4655361"/>
                    <a:pt x="2131167" y="4652673"/>
                  </a:cubicBezTo>
                  <a:cubicBezTo>
                    <a:pt x="2118588" y="4649793"/>
                    <a:pt x="2107259" y="4650177"/>
                    <a:pt x="2095065" y="4653441"/>
                  </a:cubicBezTo>
                  <a:cubicBezTo>
                    <a:pt x="2086711" y="4655649"/>
                    <a:pt x="2077878" y="4655938"/>
                    <a:pt x="2069237" y="4656609"/>
                  </a:cubicBezTo>
                  <a:cubicBezTo>
                    <a:pt x="2059924" y="4657377"/>
                    <a:pt x="2049650" y="4655361"/>
                    <a:pt x="2041201" y="4658529"/>
                  </a:cubicBezTo>
                  <a:cubicBezTo>
                    <a:pt x="2016044" y="4667939"/>
                    <a:pt x="1990216" y="4669955"/>
                    <a:pt x="1963909" y="4669955"/>
                  </a:cubicBezTo>
                  <a:cubicBezTo>
                    <a:pt x="1959107" y="4669955"/>
                    <a:pt x="1954210" y="4668612"/>
                    <a:pt x="1949603" y="4667171"/>
                  </a:cubicBezTo>
                  <a:cubicBezTo>
                    <a:pt x="1922717" y="4658529"/>
                    <a:pt x="1895737" y="4659297"/>
                    <a:pt x="1868373" y="4664578"/>
                  </a:cubicBezTo>
                  <a:cubicBezTo>
                    <a:pt x="1862708" y="4665731"/>
                    <a:pt x="1856372" y="4665923"/>
                    <a:pt x="1850707" y="4664771"/>
                  </a:cubicBezTo>
                  <a:cubicBezTo>
                    <a:pt x="1834768" y="4661410"/>
                    <a:pt x="1819309" y="4655841"/>
                    <a:pt x="1803275" y="4653441"/>
                  </a:cubicBezTo>
                  <a:cubicBezTo>
                    <a:pt x="1776775" y="4649504"/>
                    <a:pt x="1753828" y="4662754"/>
                    <a:pt x="1730112" y="4671396"/>
                  </a:cubicBezTo>
                  <a:cubicBezTo>
                    <a:pt x="1707548" y="4679557"/>
                    <a:pt x="1688345" y="4697992"/>
                    <a:pt x="1661652" y="4693863"/>
                  </a:cubicBezTo>
                  <a:cubicBezTo>
                    <a:pt x="1658965" y="4693479"/>
                    <a:pt x="1655988" y="4696071"/>
                    <a:pt x="1653011" y="4696744"/>
                  </a:cubicBezTo>
                  <a:cubicBezTo>
                    <a:pt x="1644850" y="4698568"/>
                    <a:pt x="1636689" y="4700776"/>
                    <a:pt x="1628431" y="4701641"/>
                  </a:cubicBezTo>
                  <a:cubicBezTo>
                    <a:pt x="1618350" y="4702793"/>
                    <a:pt x="1608076" y="4702409"/>
                    <a:pt x="1597995" y="4703369"/>
                  </a:cubicBezTo>
                  <a:cubicBezTo>
                    <a:pt x="1585032" y="4704521"/>
                    <a:pt x="1572263" y="4707593"/>
                    <a:pt x="1559396" y="4707593"/>
                  </a:cubicBezTo>
                  <a:cubicBezTo>
                    <a:pt x="1549026" y="4707593"/>
                    <a:pt x="1538753" y="4704041"/>
                    <a:pt x="1528480" y="4702312"/>
                  </a:cubicBezTo>
                  <a:cubicBezTo>
                    <a:pt x="1513981" y="4699912"/>
                    <a:pt x="1498042" y="4700584"/>
                    <a:pt x="1485272" y="4694439"/>
                  </a:cubicBezTo>
                  <a:cubicBezTo>
                    <a:pt x="1471639" y="4687910"/>
                    <a:pt x="1458676" y="4684934"/>
                    <a:pt x="1444562" y="4686950"/>
                  </a:cubicBezTo>
                  <a:cubicBezTo>
                    <a:pt x="1439857" y="4687622"/>
                    <a:pt x="1433808" y="4691655"/>
                    <a:pt x="1431696" y="4695783"/>
                  </a:cubicBezTo>
                  <a:cubicBezTo>
                    <a:pt x="1426991" y="4705001"/>
                    <a:pt x="1420559" y="4706634"/>
                    <a:pt x="1411821" y="4703464"/>
                  </a:cubicBezTo>
                  <a:cubicBezTo>
                    <a:pt x="1404236" y="4700776"/>
                    <a:pt x="1394922" y="4699432"/>
                    <a:pt x="1389738" y="4694247"/>
                  </a:cubicBezTo>
                  <a:cubicBezTo>
                    <a:pt x="1375047" y="4679557"/>
                    <a:pt x="1356324" y="4679077"/>
                    <a:pt x="1338081" y="4675141"/>
                  </a:cubicBezTo>
                  <a:cubicBezTo>
                    <a:pt x="1326945" y="4672739"/>
                    <a:pt x="1316574" y="4672644"/>
                    <a:pt x="1305436" y="4674276"/>
                  </a:cubicBezTo>
                  <a:cubicBezTo>
                    <a:pt x="1281241" y="4677925"/>
                    <a:pt x="1257717" y="4672739"/>
                    <a:pt x="1234481" y="4666115"/>
                  </a:cubicBezTo>
                  <a:cubicBezTo>
                    <a:pt x="1219118" y="4661698"/>
                    <a:pt x="1203372" y="4659010"/>
                    <a:pt x="1188106" y="4654497"/>
                  </a:cubicBezTo>
                  <a:cubicBezTo>
                    <a:pt x="1176680" y="4651041"/>
                    <a:pt x="1165255" y="4646912"/>
                    <a:pt x="1154790" y="4641343"/>
                  </a:cubicBezTo>
                  <a:cubicBezTo>
                    <a:pt x="1139618" y="4633181"/>
                    <a:pt x="1126369" y="4620891"/>
                    <a:pt x="1107069" y="4624156"/>
                  </a:cubicBezTo>
                  <a:cubicBezTo>
                    <a:pt x="1090074" y="4627036"/>
                    <a:pt x="1074713" y="4620988"/>
                    <a:pt x="1059158" y="4615227"/>
                  </a:cubicBezTo>
                  <a:cubicBezTo>
                    <a:pt x="1047732" y="4611002"/>
                    <a:pt x="1036308" y="4606681"/>
                    <a:pt x="1024496" y="4603993"/>
                  </a:cubicBezTo>
                  <a:cubicBezTo>
                    <a:pt x="1010478" y="4600824"/>
                    <a:pt x="994635" y="4602169"/>
                    <a:pt x="982153" y="4596311"/>
                  </a:cubicBezTo>
                  <a:cubicBezTo>
                    <a:pt x="969095" y="4590166"/>
                    <a:pt x="958246" y="4594295"/>
                    <a:pt x="946628" y="4596024"/>
                  </a:cubicBezTo>
                  <a:cubicBezTo>
                    <a:pt x="928097" y="4598712"/>
                    <a:pt x="909661" y="4603705"/>
                    <a:pt x="890939" y="4597368"/>
                  </a:cubicBezTo>
                  <a:cubicBezTo>
                    <a:pt x="868184" y="4589687"/>
                    <a:pt x="845620" y="4581430"/>
                    <a:pt x="822769" y="4574133"/>
                  </a:cubicBezTo>
                  <a:cubicBezTo>
                    <a:pt x="813934" y="4571347"/>
                    <a:pt x="804431" y="4570195"/>
                    <a:pt x="795212" y="4568947"/>
                  </a:cubicBezTo>
                  <a:cubicBezTo>
                    <a:pt x="786476" y="4567891"/>
                    <a:pt x="776010" y="4570579"/>
                    <a:pt x="769288" y="4566547"/>
                  </a:cubicBezTo>
                  <a:cubicBezTo>
                    <a:pt x="752005" y="4556178"/>
                    <a:pt x="734243" y="4551089"/>
                    <a:pt x="714271" y="4551089"/>
                  </a:cubicBezTo>
                  <a:cubicBezTo>
                    <a:pt x="706781" y="4551089"/>
                    <a:pt x="699484" y="4546768"/>
                    <a:pt x="691900" y="4545999"/>
                  </a:cubicBezTo>
                  <a:cubicBezTo>
                    <a:pt x="681529" y="4545040"/>
                    <a:pt x="669623" y="4542447"/>
                    <a:pt x="660598" y="4546096"/>
                  </a:cubicBezTo>
                  <a:cubicBezTo>
                    <a:pt x="639379" y="4554737"/>
                    <a:pt x="622193" y="4547536"/>
                    <a:pt x="603662" y="4538991"/>
                  </a:cubicBezTo>
                  <a:cubicBezTo>
                    <a:pt x="585418" y="4530541"/>
                    <a:pt x="566215" y="4523821"/>
                    <a:pt x="546821" y="4518251"/>
                  </a:cubicBezTo>
                  <a:cubicBezTo>
                    <a:pt x="539524" y="4516235"/>
                    <a:pt x="530787" y="4519596"/>
                    <a:pt x="522721" y="4520267"/>
                  </a:cubicBezTo>
                  <a:cubicBezTo>
                    <a:pt x="519840" y="4520460"/>
                    <a:pt x="516671" y="4520748"/>
                    <a:pt x="514080" y="4519788"/>
                  </a:cubicBezTo>
                  <a:cubicBezTo>
                    <a:pt x="489020" y="4510570"/>
                    <a:pt x="463575" y="4503561"/>
                    <a:pt x="436404" y="4508361"/>
                  </a:cubicBezTo>
                  <a:cubicBezTo>
                    <a:pt x="433908" y="4508842"/>
                    <a:pt x="431123" y="4507786"/>
                    <a:pt x="428626" y="4507114"/>
                  </a:cubicBezTo>
                  <a:cubicBezTo>
                    <a:pt x="416432" y="4503657"/>
                    <a:pt x="404526" y="4498184"/>
                    <a:pt x="392141" y="4496936"/>
                  </a:cubicBezTo>
                  <a:cubicBezTo>
                    <a:pt x="361608" y="4493864"/>
                    <a:pt x="330884" y="4492615"/>
                    <a:pt x="300157" y="4490599"/>
                  </a:cubicBezTo>
                  <a:cubicBezTo>
                    <a:pt x="298237" y="4490503"/>
                    <a:pt x="296221" y="4490503"/>
                    <a:pt x="294493" y="4489831"/>
                  </a:cubicBezTo>
                  <a:cubicBezTo>
                    <a:pt x="283163" y="4485702"/>
                    <a:pt x="273274" y="4487047"/>
                    <a:pt x="263671" y="4494919"/>
                  </a:cubicBezTo>
                  <a:cubicBezTo>
                    <a:pt x="259447" y="4498376"/>
                    <a:pt x="253686" y="4500200"/>
                    <a:pt x="248406" y="4502121"/>
                  </a:cubicBezTo>
                  <a:cubicBezTo>
                    <a:pt x="240628" y="4505002"/>
                    <a:pt x="232659" y="4507786"/>
                    <a:pt x="224594" y="4509610"/>
                  </a:cubicBezTo>
                  <a:cubicBezTo>
                    <a:pt x="216624" y="4511338"/>
                    <a:pt x="208079" y="4513738"/>
                    <a:pt x="200398" y="4512395"/>
                  </a:cubicBezTo>
                  <a:cubicBezTo>
                    <a:pt x="186572" y="4509994"/>
                    <a:pt x="173417" y="4504618"/>
                    <a:pt x="159783" y="4501064"/>
                  </a:cubicBezTo>
                  <a:cubicBezTo>
                    <a:pt x="155079" y="4499816"/>
                    <a:pt x="149893" y="4500009"/>
                    <a:pt x="144997" y="4499912"/>
                  </a:cubicBezTo>
                  <a:cubicBezTo>
                    <a:pt x="133763" y="4499625"/>
                    <a:pt x="122241" y="4502409"/>
                    <a:pt x="112064" y="4494440"/>
                  </a:cubicBezTo>
                  <a:cubicBezTo>
                    <a:pt x="102655" y="4486951"/>
                    <a:pt x="93148" y="4489158"/>
                    <a:pt x="83259" y="4494824"/>
                  </a:cubicBezTo>
                  <a:cubicBezTo>
                    <a:pt x="76154" y="4498857"/>
                    <a:pt x="68090" y="4502025"/>
                    <a:pt x="60120" y="4503561"/>
                  </a:cubicBezTo>
                  <a:cubicBezTo>
                    <a:pt x="49174" y="4505673"/>
                    <a:pt x="38324" y="4506538"/>
                    <a:pt x="26514" y="4505289"/>
                  </a:cubicBezTo>
                  <a:cubicBezTo>
                    <a:pt x="18161" y="4504425"/>
                    <a:pt x="11343" y="4504041"/>
                    <a:pt x="4814" y="4498952"/>
                  </a:cubicBezTo>
                  <a:cubicBezTo>
                    <a:pt x="3759" y="4498184"/>
                    <a:pt x="1839" y="4497992"/>
                    <a:pt x="398" y="4498089"/>
                  </a:cubicBezTo>
                  <a:lnTo>
                    <a:pt x="0" y="4498087"/>
                  </a:lnTo>
                  <a:close/>
                </a:path>
              </a:pathLst>
            </a:custGeom>
            <a:solidFill>
              <a:schemeClr val="bg1">
                <a:alpha val="86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lt1">
                    <a:alpha val="14000"/>
                  </a:schemeClr>
                </a:solidFill>
              </a:endParaRPr>
            </a:p>
          </p:txBody>
        </p:sp>
      </p:grpSp>
      <p:sp>
        <p:nvSpPr>
          <p:cNvPr id="144388" name="Rectangle 4"/>
          <p:cNvSpPr>
            <a:spLocks noGrp="1" noChangeArrowheads="1"/>
          </p:cNvSpPr>
          <p:nvPr>
            <p:ph type="title"/>
          </p:nvPr>
        </p:nvSpPr>
        <p:spPr>
          <a:xfrm>
            <a:off x="1268127" y="2023558"/>
            <a:ext cx="3521265" cy="2491292"/>
          </a:xfrm>
        </p:spPr>
        <p:txBody>
          <a:bodyPr anchor="t">
            <a:normAutofit/>
          </a:bodyPr>
          <a:lstStyle/>
          <a:p>
            <a:pPr eaLnBrk="1" hangingPunct="1">
              <a:defRPr/>
            </a:pPr>
            <a:r>
              <a:rPr lang="fr-FR" sz="4000" b="1"/>
              <a:t>The Place</a:t>
            </a:r>
            <a:r>
              <a:rPr lang="fr-FR" sz="4000"/>
              <a:t> </a:t>
            </a:r>
            <a:r>
              <a:rPr lang="fr-FR" sz="4000" b="1"/>
              <a:t>to leverage and activate</a:t>
            </a:r>
            <a:r>
              <a:rPr lang="fr-FR" sz="4000"/>
              <a:t> </a:t>
            </a:r>
          </a:p>
        </p:txBody>
      </p:sp>
      <p:sp>
        <p:nvSpPr>
          <p:cNvPr id="144401" name="Freeform: Shape 144400">
            <a:extLst>
              <a:ext uri="{FF2B5EF4-FFF2-40B4-BE49-F238E27FC236}">
                <a16:creationId xmlns:a16="http://schemas.microsoft.com/office/drawing/2014/main" id="{30B5ED20-499B-41E7-95BE-8BBD313145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27088" y="4258080"/>
            <a:ext cx="4403345" cy="1180695"/>
          </a:xfrm>
          <a:custGeom>
            <a:avLst/>
            <a:gdLst>
              <a:gd name="connsiteX0" fmla="*/ 5260975 w 5260975"/>
              <a:gd name="connsiteY0" fmla="*/ 0 h 1410656"/>
              <a:gd name="connsiteX1" fmla="*/ 5260975 w 5260975"/>
              <a:gd name="connsiteY1" fmla="*/ 221634 h 1410656"/>
              <a:gd name="connsiteX2" fmla="*/ 5226503 w 5260975"/>
              <a:gd name="connsiteY2" fmla="*/ 237063 h 1410656"/>
              <a:gd name="connsiteX3" fmla="*/ 5206341 w 5260975"/>
              <a:gd name="connsiteY3" fmla="*/ 245128 h 1410656"/>
              <a:gd name="connsiteX4" fmla="*/ 5123287 w 5260975"/>
              <a:gd name="connsiteY4" fmla="*/ 297073 h 1410656"/>
              <a:gd name="connsiteX5" fmla="*/ 5048107 w 5260975"/>
              <a:gd name="connsiteY5" fmla="*/ 361307 h 1410656"/>
              <a:gd name="connsiteX6" fmla="*/ 4992899 w 5260975"/>
              <a:gd name="connsiteY6" fmla="*/ 437542 h 1410656"/>
              <a:gd name="connsiteX7" fmla="*/ 4977440 w 5260975"/>
              <a:gd name="connsiteY7" fmla="*/ 455690 h 1410656"/>
              <a:gd name="connsiteX8" fmla="*/ 4935193 w 5260975"/>
              <a:gd name="connsiteY8" fmla="*/ 478445 h 1410656"/>
              <a:gd name="connsiteX9" fmla="*/ 4897844 w 5260975"/>
              <a:gd name="connsiteY9" fmla="*/ 495535 h 1410656"/>
              <a:gd name="connsiteX10" fmla="*/ 4870767 w 5260975"/>
              <a:gd name="connsiteY10" fmla="*/ 514451 h 1410656"/>
              <a:gd name="connsiteX11" fmla="*/ 4847916 w 5260975"/>
              <a:gd name="connsiteY11" fmla="*/ 531830 h 1410656"/>
              <a:gd name="connsiteX12" fmla="*/ 4796163 w 5260975"/>
              <a:gd name="connsiteY12" fmla="*/ 576765 h 1410656"/>
              <a:gd name="connsiteX13" fmla="*/ 4738843 w 5260975"/>
              <a:gd name="connsiteY13" fmla="*/ 614691 h 1410656"/>
              <a:gd name="connsiteX14" fmla="*/ 4692755 w 5260975"/>
              <a:gd name="connsiteY14" fmla="*/ 661162 h 1410656"/>
              <a:gd name="connsiteX15" fmla="*/ 4673744 w 5260975"/>
              <a:gd name="connsiteY15" fmla="*/ 686318 h 1410656"/>
              <a:gd name="connsiteX16" fmla="*/ 4633801 w 5260975"/>
              <a:gd name="connsiteY16" fmla="*/ 703505 h 1410656"/>
              <a:gd name="connsiteX17" fmla="*/ 4590499 w 5260975"/>
              <a:gd name="connsiteY17" fmla="*/ 730389 h 1410656"/>
              <a:gd name="connsiteX18" fmla="*/ 4559773 w 5260975"/>
              <a:gd name="connsiteY18" fmla="*/ 757081 h 1410656"/>
              <a:gd name="connsiteX19" fmla="*/ 4536059 w 5260975"/>
              <a:gd name="connsiteY19" fmla="*/ 774940 h 1410656"/>
              <a:gd name="connsiteX20" fmla="*/ 4502549 w 5260975"/>
              <a:gd name="connsiteY20" fmla="*/ 792895 h 1410656"/>
              <a:gd name="connsiteX21" fmla="*/ 4468944 w 5260975"/>
              <a:gd name="connsiteY21" fmla="*/ 816419 h 1410656"/>
              <a:gd name="connsiteX22" fmla="*/ 4452622 w 5260975"/>
              <a:gd name="connsiteY22" fmla="*/ 830917 h 1410656"/>
              <a:gd name="connsiteX23" fmla="*/ 4421032 w 5260975"/>
              <a:gd name="connsiteY23" fmla="*/ 855016 h 1410656"/>
              <a:gd name="connsiteX24" fmla="*/ 4388483 w 5260975"/>
              <a:gd name="connsiteY24" fmla="*/ 877484 h 1410656"/>
              <a:gd name="connsiteX25" fmla="*/ 4327321 w 5260975"/>
              <a:gd name="connsiteY25" fmla="*/ 903216 h 1410656"/>
              <a:gd name="connsiteX26" fmla="*/ 4271633 w 5260975"/>
              <a:gd name="connsiteY26" fmla="*/ 941046 h 1410656"/>
              <a:gd name="connsiteX27" fmla="*/ 4227465 w 5260975"/>
              <a:gd name="connsiteY27" fmla="*/ 968698 h 1410656"/>
              <a:gd name="connsiteX28" fmla="*/ 4201733 w 5260975"/>
              <a:gd name="connsiteY28" fmla="*/ 986846 h 1410656"/>
              <a:gd name="connsiteX29" fmla="*/ 4154494 w 5260975"/>
              <a:gd name="connsiteY29" fmla="*/ 1027364 h 1410656"/>
              <a:gd name="connsiteX30" fmla="*/ 4081234 w 5260975"/>
              <a:gd name="connsiteY30" fmla="*/ 1069994 h 1410656"/>
              <a:gd name="connsiteX31" fmla="*/ 4036971 w 5260975"/>
              <a:gd name="connsiteY31" fmla="*/ 1093038 h 1410656"/>
              <a:gd name="connsiteX32" fmla="*/ 3941725 w 5260975"/>
              <a:gd name="connsiteY32" fmla="*/ 1127796 h 1410656"/>
              <a:gd name="connsiteX33" fmla="*/ 3910999 w 5260975"/>
              <a:gd name="connsiteY33" fmla="*/ 1140182 h 1410656"/>
              <a:gd name="connsiteX34" fmla="*/ 3875859 w 5260975"/>
              <a:gd name="connsiteY34" fmla="*/ 1148343 h 1410656"/>
              <a:gd name="connsiteX35" fmla="*/ 3819401 w 5260975"/>
              <a:gd name="connsiteY35" fmla="*/ 1167642 h 1410656"/>
              <a:gd name="connsiteX36" fmla="*/ 3709176 w 5260975"/>
              <a:gd name="connsiteY36" fmla="*/ 1200863 h 1410656"/>
              <a:gd name="connsiteX37" fmla="*/ 3684981 w 5260975"/>
              <a:gd name="connsiteY37" fmla="*/ 1205952 h 1410656"/>
              <a:gd name="connsiteX38" fmla="*/ 3623338 w 5260975"/>
              <a:gd name="connsiteY38" fmla="*/ 1227363 h 1410656"/>
              <a:gd name="connsiteX39" fmla="*/ 3586373 w 5260975"/>
              <a:gd name="connsiteY39" fmla="*/ 1241765 h 1410656"/>
              <a:gd name="connsiteX40" fmla="*/ 3555743 w 5260975"/>
              <a:gd name="connsiteY40" fmla="*/ 1250023 h 1410656"/>
              <a:gd name="connsiteX41" fmla="*/ 3528667 w 5260975"/>
              <a:gd name="connsiteY41" fmla="*/ 1253864 h 1410656"/>
              <a:gd name="connsiteX42" fmla="*/ 3457424 w 5260975"/>
              <a:gd name="connsiteY42" fmla="*/ 1272874 h 1410656"/>
              <a:gd name="connsiteX43" fmla="*/ 3429003 w 5260975"/>
              <a:gd name="connsiteY43" fmla="*/ 1280364 h 1410656"/>
              <a:gd name="connsiteX44" fmla="*/ 3355264 w 5260975"/>
              <a:gd name="connsiteY44" fmla="*/ 1306096 h 1410656"/>
              <a:gd name="connsiteX45" fmla="*/ 3292757 w 5260975"/>
              <a:gd name="connsiteY45" fmla="*/ 1323090 h 1410656"/>
              <a:gd name="connsiteX46" fmla="*/ 3266643 w 5260975"/>
              <a:gd name="connsiteY46" fmla="*/ 1331251 h 1410656"/>
              <a:gd name="connsiteX47" fmla="*/ 3206921 w 5260975"/>
              <a:gd name="connsiteY47" fmla="*/ 1344886 h 1410656"/>
              <a:gd name="connsiteX48" fmla="*/ 3173123 w 5260975"/>
              <a:gd name="connsiteY48" fmla="*/ 1354488 h 1410656"/>
              <a:gd name="connsiteX49" fmla="*/ 3090646 w 5260975"/>
              <a:gd name="connsiteY49" fmla="*/ 1365337 h 1410656"/>
              <a:gd name="connsiteX50" fmla="*/ 3005480 w 5260975"/>
              <a:gd name="connsiteY50" fmla="*/ 1375802 h 1410656"/>
              <a:gd name="connsiteX51" fmla="*/ 2958721 w 5260975"/>
              <a:gd name="connsiteY51" fmla="*/ 1379259 h 1410656"/>
              <a:gd name="connsiteX52" fmla="*/ 2917915 w 5260975"/>
              <a:gd name="connsiteY52" fmla="*/ 1384733 h 1410656"/>
              <a:gd name="connsiteX53" fmla="*/ 2882389 w 5260975"/>
              <a:gd name="connsiteY53" fmla="*/ 1388189 h 1410656"/>
              <a:gd name="connsiteX54" fmla="*/ 2825837 w 5260975"/>
              <a:gd name="connsiteY54" fmla="*/ 1395198 h 1410656"/>
              <a:gd name="connsiteX55" fmla="*/ 2802313 w 5260975"/>
              <a:gd name="connsiteY55" fmla="*/ 1397023 h 1410656"/>
              <a:gd name="connsiteX56" fmla="*/ 2746816 w 5260975"/>
              <a:gd name="connsiteY56" fmla="*/ 1396926 h 1410656"/>
              <a:gd name="connsiteX57" fmla="*/ 2727517 w 5260975"/>
              <a:gd name="connsiteY57" fmla="*/ 1395966 h 1410656"/>
              <a:gd name="connsiteX58" fmla="*/ 2690359 w 5260975"/>
              <a:gd name="connsiteY58" fmla="*/ 1384060 h 1410656"/>
              <a:gd name="connsiteX59" fmla="*/ 2685943 w 5260975"/>
              <a:gd name="connsiteY59" fmla="*/ 1383196 h 1410656"/>
              <a:gd name="connsiteX60" fmla="*/ 2661554 w 5260975"/>
              <a:gd name="connsiteY60" fmla="*/ 1378491 h 1410656"/>
              <a:gd name="connsiteX61" fmla="*/ 2648208 w 5260975"/>
              <a:gd name="connsiteY61" fmla="*/ 1376955 h 1410656"/>
              <a:gd name="connsiteX62" fmla="*/ 2597512 w 5260975"/>
              <a:gd name="connsiteY62" fmla="*/ 1367162 h 1410656"/>
              <a:gd name="connsiteX63" fmla="*/ 2568324 w 5260975"/>
              <a:gd name="connsiteY63" fmla="*/ 1362553 h 1410656"/>
              <a:gd name="connsiteX64" fmla="*/ 2544704 w 5260975"/>
              <a:gd name="connsiteY64" fmla="*/ 1363225 h 1410656"/>
              <a:gd name="connsiteX65" fmla="*/ 2503225 w 5260975"/>
              <a:gd name="connsiteY65" fmla="*/ 1364089 h 1410656"/>
              <a:gd name="connsiteX66" fmla="*/ 2489975 w 5260975"/>
              <a:gd name="connsiteY66" fmla="*/ 1366298 h 1410656"/>
              <a:gd name="connsiteX67" fmla="*/ 2430061 w 5260975"/>
              <a:gd name="connsiteY67" fmla="*/ 1359960 h 1410656"/>
              <a:gd name="connsiteX68" fmla="*/ 2395880 w 5260975"/>
              <a:gd name="connsiteY68" fmla="*/ 1359480 h 1410656"/>
              <a:gd name="connsiteX69" fmla="*/ 2357378 w 5260975"/>
              <a:gd name="connsiteY69" fmla="*/ 1351607 h 1410656"/>
              <a:gd name="connsiteX70" fmla="*/ 2346145 w 5260975"/>
              <a:gd name="connsiteY70" fmla="*/ 1351991 h 1410656"/>
              <a:gd name="connsiteX71" fmla="*/ 2333567 w 5260975"/>
              <a:gd name="connsiteY71" fmla="*/ 1352663 h 1410656"/>
              <a:gd name="connsiteX72" fmla="*/ 2294968 w 5260975"/>
              <a:gd name="connsiteY72" fmla="*/ 1353240 h 1410656"/>
              <a:gd name="connsiteX73" fmla="*/ 2271540 w 5260975"/>
              <a:gd name="connsiteY73" fmla="*/ 1356120 h 1410656"/>
              <a:gd name="connsiteX74" fmla="*/ 2226895 w 5260975"/>
              <a:gd name="connsiteY74" fmla="*/ 1354392 h 1410656"/>
              <a:gd name="connsiteX75" fmla="*/ 2210379 w 5260975"/>
              <a:gd name="connsiteY75" fmla="*/ 1356888 h 1410656"/>
              <a:gd name="connsiteX76" fmla="*/ 2168613 w 5260975"/>
              <a:gd name="connsiteY76" fmla="*/ 1357176 h 1410656"/>
              <a:gd name="connsiteX77" fmla="*/ 2131167 w 5260975"/>
              <a:gd name="connsiteY77" fmla="*/ 1355736 h 1410656"/>
              <a:gd name="connsiteX78" fmla="*/ 2095065 w 5260975"/>
              <a:gd name="connsiteY78" fmla="*/ 1356504 h 1410656"/>
              <a:gd name="connsiteX79" fmla="*/ 2069237 w 5260975"/>
              <a:gd name="connsiteY79" fmla="*/ 1359672 h 1410656"/>
              <a:gd name="connsiteX80" fmla="*/ 2041201 w 5260975"/>
              <a:gd name="connsiteY80" fmla="*/ 1361592 h 1410656"/>
              <a:gd name="connsiteX81" fmla="*/ 1963909 w 5260975"/>
              <a:gd name="connsiteY81" fmla="*/ 1373018 h 1410656"/>
              <a:gd name="connsiteX82" fmla="*/ 1949603 w 5260975"/>
              <a:gd name="connsiteY82" fmla="*/ 1370234 h 1410656"/>
              <a:gd name="connsiteX83" fmla="*/ 1868373 w 5260975"/>
              <a:gd name="connsiteY83" fmla="*/ 1367641 h 1410656"/>
              <a:gd name="connsiteX84" fmla="*/ 1850707 w 5260975"/>
              <a:gd name="connsiteY84" fmla="*/ 1367834 h 1410656"/>
              <a:gd name="connsiteX85" fmla="*/ 1803275 w 5260975"/>
              <a:gd name="connsiteY85" fmla="*/ 1356504 h 1410656"/>
              <a:gd name="connsiteX86" fmla="*/ 1730112 w 5260975"/>
              <a:gd name="connsiteY86" fmla="*/ 1374459 h 1410656"/>
              <a:gd name="connsiteX87" fmla="*/ 1661652 w 5260975"/>
              <a:gd name="connsiteY87" fmla="*/ 1396926 h 1410656"/>
              <a:gd name="connsiteX88" fmla="*/ 1653011 w 5260975"/>
              <a:gd name="connsiteY88" fmla="*/ 1399807 h 1410656"/>
              <a:gd name="connsiteX89" fmla="*/ 1628431 w 5260975"/>
              <a:gd name="connsiteY89" fmla="*/ 1404704 h 1410656"/>
              <a:gd name="connsiteX90" fmla="*/ 1597995 w 5260975"/>
              <a:gd name="connsiteY90" fmla="*/ 1406432 h 1410656"/>
              <a:gd name="connsiteX91" fmla="*/ 1559396 w 5260975"/>
              <a:gd name="connsiteY91" fmla="*/ 1410656 h 1410656"/>
              <a:gd name="connsiteX92" fmla="*/ 1528480 w 5260975"/>
              <a:gd name="connsiteY92" fmla="*/ 1405375 h 1410656"/>
              <a:gd name="connsiteX93" fmla="*/ 1485272 w 5260975"/>
              <a:gd name="connsiteY93" fmla="*/ 1397502 h 1410656"/>
              <a:gd name="connsiteX94" fmla="*/ 1444562 w 5260975"/>
              <a:gd name="connsiteY94" fmla="*/ 1390013 h 1410656"/>
              <a:gd name="connsiteX95" fmla="*/ 1431696 w 5260975"/>
              <a:gd name="connsiteY95" fmla="*/ 1398846 h 1410656"/>
              <a:gd name="connsiteX96" fmla="*/ 1411821 w 5260975"/>
              <a:gd name="connsiteY96" fmla="*/ 1406527 h 1410656"/>
              <a:gd name="connsiteX97" fmla="*/ 1389738 w 5260975"/>
              <a:gd name="connsiteY97" fmla="*/ 1397310 h 1410656"/>
              <a:gd name="connsiteX98" fmla="*/ 1338081 w 5260975"/>
              <a:gd name="connsiteY98" fmla="*/ 1378204 h 1410656"/>
              <a:gd name="connsiteX99" fmla="*/ 1305436 w 5260975"/>
              <a:gd name="connsiteY99" fmla="*/ 1377339 h 1410656"/>
              <a:gd name="connsiteX100" fmla="*/ 1234481 w 5260975"/>
              <a:gd name="connsiteY100" fmla="*/ 1369178 h 1410656"/>
              <a:gd name="connsiteX101" fmla="*/ 1188106 w 5260975"/>
              <a:gd name="connsiteY101" fmla="*/ 1357560 h 1410656"/>
              <a:gd name="connsiteX102" fmla="*/ 1154790 w 5260975"/>
              <a:gd name="connsiteY102" fmla="*/ 1344406 h 1410656"/>
              <a:gd name="connsiteX103" fmla="*/ 1107069 w 5260975"/>
              <a:gd name="connsiteY103" fmla="*/ 1327219 h 1410656"/>
              <a:gd name="connsiteX104" fmla="*/ 1059158 w 5260975"/>
              <a:gd name="connsiteY104" fmla="*/ 1318290 h 1410656"/>
              <a:gd name="connsiteX105" fmla="*/ 1024496 w 5260975"/>
              <a:gd name="connsiteY105" fmla="*/ 1307056 h 1410656"/>
              <a:gd name="connsiteX106" fmla="*/ 982153 w 5260975"/>
              <a:gd name="connsiteY106" fmla="*/ 1299374 h 1410656"/>
              <a:gd name="connsiteX107" fmla="*/ 946628 w 5260975"/>
              <a:gd name="connsiteY107" fmla="*/ 1299087 h 1410656"/>
              <a:gd name="connsiteX108" fmla="*/ 890939 w 5260975"/>
              <a:gd name="connsiteY108" fmla="*/ 1300431 h 1410656"/>
              <a:gd name="connsiteX109" fmla="*/ 822769 w 5260975"/>
              <a:gd name="connsiteY109" fmla="*/ 1277196 h 1410656"/>
              <a:gd name="connsiteX110" fmla="*/ 795212 w 5260975"/>
              <a:gd name="connsiteY110" fmla="*/ 1272010 h 1410656"/>
              <a:gd name="connsiteX111" fmla="*/ 769288 w 5260975"/>
              <a:gd name="connsiteY111" fmla="*/ 1269610 h 1410656"/>
              <a:gd name="connsiteX112" fmla="*/ 714271 w 5260975"/>
              <a:gd name="connsiteY112" fmla="*/ 1254152 h 1410656"/>
              <a:gd name="connsiteX113" fmla="*/ 691900 w 5260975"/>
              <a:gd name="connsiteY113" fmla="*/ 1249062 h 1410656"/>
              <a:gd name="connsiteX114" fmla="*/ 660598 w 5260975"/>
              <a:gd name="connsiteY114" fmla="*/ 1249159 h 1410656"/>
              <a:gd name="connsiteX115" fmla="*/ 603662 w 5260975"/>
              <a:gd name="connsiteY115" fmla="*/ 1242054 h 1410656"/>
              <a:gd name="connsiteX116" fmla="*/ 546821 w 5260975"/>
              <a:gd name="connsiteY116" fmla="*/ 1221314 h 1410656"/>
              <a:gd name="connsiteX117" fmla="*/ 522721 w 5260975"/>
              <a:gd name="connsiteY117" fmla="*/ 1223330 h 1410656"/>
              <a:gd name="connsiteX118" fmla="*/ 514080 w 5260975"/>
              <a:gd name="connsiteY118" fmla="*/ 1222851 h 1410656"/>
              <a:gd name="connsiteX119" fmla="*/ 436404 w 5260975"/>
              <a:gd name="connsiteY119" fmla="*/ 1211424 h 1410656"/>
              <a:gd name="connsiteX120" fmla="*/ 428626 w 5260975"/>
              <a:gd name="connsiteY120" fmla="*/ 1210177 h 1410656"/>
              <a:gd name="connsiteX121" fmla="*/ 392141 w 5260975"/>
              <a:gd name="connsiteY121" fmla="*/ 1199999 h 1410656"/>
              <a:gd name="connsiteX122" fmla="*/ 300157 w 5260975"/>
              <a:gd name="connsiteY122" fmla="*/ 1193662 h 1410656"/>
              <a:gd name="connsiteX123" fmla="*/ 294493 w 5260975"/>
              <a:gd name="connsiteY123" fmla="*/ 1192894 h 1410656"/>
              <a:gd name="connsiteX124" fmla="*/ 263671 w 5260975"/>
              <a:gd name="connsiteY124" fmla="*/ 1197982 h 1410656"/>
              <a:gd name="connsiteX125" fmla="*/ 248406 w 5260975"/>
              <a:gd name="connsiteY125" fmla="*/ 1205184 h 1410656"/>
              <a:gd name="connsiteX126" fmla="*/ 224594 w 5260975"/>
              <a:gd name="connsiteY126" fmla="*/ 1212673 h 1410656"/>
              <a:gd name="connsiteX127" fmla="*/ 200398 w 5260975"/>
              <a:gd name="connsiteY127" fmla="*/ 1215458 h 1410656"/>
              <a:gd name="connsiteX128" fmla="*/ 159783 w 5260975"/>
              <a:gd name="connsiteY128" fmla="*/ 1204127 h 1410656"/>
              <a:gd name="connsiteX129" fmla="*/ 144997 w 5260975"/>
              <a:gd name="connsiteY129" fmla="*/ 1202975 h 1410656"/>
              <a:gd name="connsiteX130" fmla="*/ 112064 w 5260975"/>
              <a:gd name="connsiteY130" fmla="*/ 1197503 h 1410656"/>
              <a:gd name="connsiteX131" fmla="*/ 83259 w 5260975"/>
              <a:gd name="connsiteY131" fmla="*/ 1197887 h 1410656"/>
              <a:gd name="connsiteX132" fmla="*/ 60120 w 5260975"/>
              <a:gd name="connsiteY132" fmla="*/ 1206624 h 1410656"/>
              <a:gd name="connsiteX133" fmla="*/ 26514 w 5260975"/>
              <a:gd name="connsiteY133" fmla="*/ 1208352 h 1410656"/>
              <a:gd name="connsiteX134" fmla="*/ 4814 w 5260975"/>
              <a:gd name="connsiteY134" fmla="*/ 1202015 h 1410656"/>
              <a:gd name="connsiteX135" fmla="*/ 398 w 5260975"/>
              <a:gd name="connsiteY135" fmla="*/ 1201152 h 1410656"/>
              <a:gd name="connsiteX136" fmla="*/ 0 w 5260975"/>
              <a:gd name="connsiteY136" fmla="*/ 1201150 h 1410656"/>
              <a:gd name="connsiteX137" fmla="*/ 0 w 5260975"/>
              <a:gd name="connsiteY137" fmla="*/ 1004512 h 1410656"/>
              <a:gd name="connsiteX138" fmla="*/ 30355 w 5260975"/>
              <a:gd name="connsiteY138" fmla="*/ 1002784 h 1410656"/>
              <a:gd name="connsiteX139" fmla="*/ 52151 w 5260975"/>
              <a:gd name="connsiteY139" fmla="*/ 997695 h 1410656"/>
              <a:gd name="connsiteX140" fmla="*/ 64248 w 5260975"/>
              <a:gd name="connsiteY140" fmla="*/ 994430 h 1410656"/>
              <a:gd name="connsiteX141" fmla="*/ 126370 w 5260975"/>
              <a:gd name="connsiteY141" fmla="*/ 985405 h 1410656"/>
              <a:gd name="connsiteX142" fmla="*/ 154022 w 5260975"/>
              <a:gd name="connsiteY142" fmla="*/ 975708 h 1410656"/>
              <a:gd name="connsiteX143" fmla="*/ 161512 w 5260975"/>
              <a:gd name="connsiteY143" fmla="*/ 974268 h 1410656"/>
              <a:gd name="connsiteX144" fmla="*/ 202510 w 5260975"/>
              <a:gd name="connsiteY144" fmla="*/ 978300 h 1410656"/>
              <a:gd name="connsiteX145" fmla="*/ 233235 w 5260975"/>
              <a:gd name="connsiteY145" fmla="*/ 993950 h 1410656"/>
              <a:gd name="connsiteX146" fmla="*/ 239188 w 5260975"/>
              <a:gd name="connsiteY146" fmla="*/ 999231 h 1410656"/>
              <a:gd name="connsiteX147" fmla="*/ 324834 w 5260975"/>
              <a:gd name="connsiteY147" fmla="*/ 997407 h 1410656"/>
              <a:gd name="connsiteX148" fmla="*/ 337987 w 5260975"/>
              <a:gd name="connsiteY148" fmla="*/ 995198 h 1410656"/>
              <a:gd name="connsiteX149" fmla="*/ 401550 w 5260975"/>
              <a:gd name="connsiteY149" fmla="*/ 1004416 h 1410656"/>
              <a:gd name="connsiteX150" fmla="*/ 420081 w 5260975"/>
              <a:gd name="connsiteY150" fmla="*/ 1006240 h 1410656"/>
              <a:gd name="connsiteX151" fmla="*/ 486523 w 5260975"/>
              <a:gd name="connsiteY151" fmla="*/ 1014498 h 1410656"/>
              <a:gd name="connsiteX152" fmla="*/ 495932 w 5260975"/>
              <a:gd name="connsiteY152" fmla="*/ 1006817 h 1410656"/>
              <a:gd name="connsiteX153" fmla="*/ 523009 w 5260975"/>
              <a:gd name="connsiteY153" fmla="*/ 987517 h 1410656"/>
              <a:gd name="connsiteX154" fmla="*/ 576393 w 5260975"/>
              <a:gd name="connsiteY154" fmla="*/ 970427 h 1410656"/>
              <a:gd name="connsiteX155" fmla="*/ 590892 w 5260975"/>
              <a:gd name="connsiteY155" fmla="*/ 971387 h 1410656"/>
              <a:gd name="connsiteX156" fmla="*/ 627569 w 5260975"/>
              <a:gd name="connsiteY156" fmla="*/ 999904 h 1410656"/>
              <a:gd name="connsiteX157" fmla="*/ 645429 w 5260975"/>
              <a:gd name="connsiteY157" fmla="*/ 1011329 h 1410656"/>
              <a:gd name="connsiteX158" fmla="*/ 696125 w 5260975"/>
              <a:gd name="connsiteY158" fmla="*/ 1032356 h 1410656"/>
              <a:gd name="connsiteX159" fmla="*/ 700349 w 5260975"/>
              <a:gd name="connsiteY159" fmla="*/ 1036197 h 1410656"/>
              <a:gd name="connsiteX160" fmla="*/ 737795 w 5260975"/>
              <a:gd name="connsiteY160" fmla="*/ 1081804 h 1410656"/>
              <a:gd name="connsiteX161" fmla="*/ 746244 w 5260975"/>
              <a:gd name="connsiteY161" fmla="*/ 1089581 h 1410656"/>
              <a:gd name="connsiteX162" fmla="*/ 756422 w 5260975"/>
              <a:gd name="connsiteY162" fmla="*/ 1101680 h 1410656"/>
              <a:gd name="connsiteX163" fmla="*/ 788202 w 5260975"/>
              <a:gd name="connsiteY163" fmla="*/ 1125108 h 1410656"/>
              <a:gd name="connsiteX164" fmla="*/ 827569 w 5260975"/>
              <a:gd name="connsiteY164" fmla="*/ 1132596 h 1410656"/>
              <a:gd name="connsiteX165" fmla="*/ 875097 w 5260975"/>
              <a:gd name="connsiteY165" fmla="*/ 1144022 h 1410656"/>
              <a:gd name="connsiteX166" fmla="*/ 894972 w 5260975"/>
              <a:gd name="connsiteY166" fmla="*/ 1151704 h 1410656"/>
              <a:gd name="connsiteX167" fmla="*/ 948260 w 5260975"/>
              <a:gd name="connsiteY167" fmla="*/ 1166298 h 1410656"/>
              <a:gd name="connsiteX168" fmla="*/ 986282 w 5260975"/>
              <a:gd name="connsiteY168" fmla="*/ 1178588 h 1410656"/>
              <a:gd name="connsiteX169" fmla="*/ 1041107 w 5260975"/>
              <a:gd name="connsiteY169" fmla="*/ 1185789 h 1410656"/>
              <a:gd name="connsiteX170" fmla="*/ 1067703 w 5260975"/>
              <a:gd name="connsiteY170" fmla="*/ 1186076 h 1410656"/>
              <a:gd name="connsiteX171" fmla="*/ 1116574 w 5260975"/>
              <a:gd name="connsiteY171" fmla="*/ 1222946 h 1410656"/>
              <a:gd name="connsiteX172" fmla="*/ 1155557 w 5260975"/>
              <a:gd name="connsiteY172" fmla="*/ 1247335 h 1410656"/>
              <a:gd name="connsiteX173" fmla="*/ 1196556 w 5260975"/>
              <a:gd name="connsiteY173" fmla="*/ 1235525 h 1410656"/>
              <a:gd name="connsiteX174" fmla="*/ 1207693 w 5260975"/>
              <a:gd name="connsiteY174" fmla="*/ 1224387 h 1410656"/>
              <a:gd name="connsiteX175" fmla="*/ 1274904 w 5260975"/>
              <a:gd name="connsiteY175" fmla="*/ 1213826 h 1410656"/>
              <a:gd name="connsiteX176" fmla="*/ 1370919 w 5260975"/>
              <a:gd name="connsiteY176" fmla="*/ 1213442 h 1410656"/>
              <a:gd name="connsiteX177" fmla="*/ 1530593 w 5260975"/>
              <a:gd name="connsiteY177" fmla="*/ 1189437 h 1410656"/>
              <a:gd name="connsiteX178" fmla="*/ 1558436 w 5260975"/>
              <a:gd name="connsiteY178" fmla="*/ 1178299 h 1410656"/>
              <a:gd name="connsiteX179" fmla="*/ 1589737 w 5260975"/>
              <a:gd name="connsiteY179" fmla="*/ 1175515 h 1410656"/>
              <a:gd name="connsiteX180" fmla="*/ 1601740 w 5260975"/>
              <a:gd name="connsiteY180" fmla="*/ 1182333 h 1410656"/>
              <a:gd name="connsiteX181" fmla="*/ 1654259 w 5260975"/>
              <a:gd name="connsiteY181" fmla="*/ 1192510 h 1410656"/>
              <a:gd name="connsiteX182" fmla="*/ 1664246 w 5260975"/>
              <a:gd name="connsiteY182" fmla="*/ 1192702 h 1410656"/>
              <a:gd name="connsiteX183" fmla="*/ 1698427 w 5260975"/>
              <a:gd name="connsiteY183" fmla="*/ 1188381 h 1410656"/>
              <a:gd name="connsiteX184" fmla="*/ 1730112 w 5260975"/>
              <a:gd name="connsiteY184" fmla="*/ 1185885 h 1410656"/>
              <a:gd name="connsiteX185" fmla="*/ 1809996 w 5260975"/>
              <a:gd name="connsiteY185" fmla="*/ 1194046 h 1410656"/>
              <a:gd name="connsiteX186" fmla="*/ 1871254 w 5260975"/>
              <a:gd name="connsiteY186" fmla="*/ 1192126 h 1410656"/>
              <a:gd name="connsiteX187" fmla="*/ 1899482 w 5260975"/>
              <a:gd name="connsiteY187" fmla="*/ 1194046 h 1410656"/>
              <a:gd name="connsiteX188" fmla="*/ 1915420 w 5260975"/>
              <a:gd name="connsiteY188" fmla="*/ 1196927 h 1410656"/>
              <a:gd name="connsiteX189" fmla="*/ 1951522 w 5260975"/>
              <a:gd name="connsiteY189" fmla="*/ 1216994 h 1410656"/>
              <a:gd name="connsiteX190" fmla="*/ 1971302 w 5260975"/>
              <a:gd name="connsiteY190" fmla="*/ 1221507 h 1410656"/>
              <a:gd name="connsiteX191" fmla="*/ 2030831 w 5260975"/>
              <a:gd name="connsiteY191" fmla="*/ 1221123 h 1410656"/>
              <a:gd name="connsiteX192" fmla="*/ 2120125 w 5260975"/>
              <a:gd name="connsiteY192" fmla="*/ 1190878 h 1410656"/>
              <a:gd name="connsiteX193" fmla="*/ 2129439 w 5260975"/>
              <a:gd name="connsiteY193" fmla="*/ 1186845 h 1410656"/>
              <a:gd name="connsiteX194" fmla="*/ 2174854 w 5260975"/>
              <a:gd name="connsiteY194" fmla="*/ 1181852 h 1410656"/>
              <a:gd name="connsiteX195" fmla="*/ 2205674 w 5260975"/>
              <a:gd name="connsiteY195" fmla="*/ 1188669 h 1410656"/>
              <a:gd name="connsiteX196" fmla="*/ 2247634 w 5260975"/>
              <a:gd name="connsiteY196" fmla="*/ 1202784 h 1410656"/>
              <a:gd name="connsiteX197" fmla="*/ 2285367 w 5260975"/>
              <a:gd name="connsiteY197" fmla="*/ 1214594 h 1410656"/>
              <a:gd name="connsiteX198" fmla="*/ 2312827 w 5260975"/>
              <a:gd name="connsiteY198" fmla="*/ 1227939 h 1410656"/>
              <a:gd name="connsiteX199" fmla="*/ 2375622 w 5260975"/>
              <a:gd name="connsiteY199" fmla="*/ 1237733 h 1410656"/>
              <a:gd name="connsiteX200" fmla="*/ 2382151 w 5260975"/>
              <a:gd name="connsiteY200" fmla="*/ 1239365 h 1410656"/>
              <a:gd name="connsiteX201" fmla="*/ 2429390 w 5260975"/>
              <a:gd name="connsiteY201" fmla="*/ 1227459 h 1410656"/>
              <a:gd name="connsiteX202" fmla="*/ 2486134 w 5260975"/>
              <a:gd name="connsiteY202" fmla="*/ 1215362 h 1410656"/>
              <a:gd name="connsiteX203" fmla="*/ 2506394 w 5260975"/>
              <a:gd name="connsiteY203" fmla="*/ 1219490 h 1410656"/>
              <a:gd name="connsiteX204" fmla="*/ 2534142 w 5260975"/>
              <a:gd name="connsiteY204" fmla="*/ 1225347 h 1410656"/>
              <a:gd name="connsiteX205" fmla="*/ 2559874 w 5260975"/>
              <a:gd name="connsiteY205" fmla="*/ 1222275 h 1410656"/>
              <a:gd name="connsiteX206" fmla="*/ 2575525 w 5260975"/>
              <a:gd name="connsiteY206" fmla="*/ 1221987 h 1410656"/>
              <a:gd name="connsiteX207" fmla="*/ 2646960 w 5260975"/>
              <a:gd name="connsiteY207" fmla="*/ 1257896 h 1410656"/>
              <a:gd name="connsiteX208" fmla="*/ 2665107 w 5260975"/>
              <a:gd name="connsiteY208" fmla="*/ 1260873 h 1410656"/>
              <a:gd name="connsiteX209" fmla="*/ 2675381 w 5260975"/>
              <a:gd name="connsiteY209" fmla="*/ 1265290 h 1410656"/>
              <a:gd name="connsiteX210" fmla="*/ 2737311 w 5260975"/>
              <a:gd name="connsiteY210" fmla="*/ 1309841 h 1410656"/>
              <a:gd name="connsiteX211" fmla="*/ 2763619 w 5260975"/>
              <a:gd name="connsiteY211" fmla="*/ 1318866 h 1410656"/>
              <a:gd name="connsiteX212" fmla="*/ 2792519 w 5260975"/>
              <a:gd name="connsiteY212" fmla="*/ 1317041 h 1410656"/>
              <a:gd name="connsiteX213" fmla="*/ 2809226 w 5260975"/>
              <a:gd name="connsiteY213" fmla="*/ 1313777 h 1410656"/>
              <a:gd name="connsiteX214" fmla="*/ 2850705 w 5260975"/>
              <a:gd name="connsiteY214" fmla="*/ 1285452 h 1410656"/>
              <a:gd name="connsiteX215" fmla="*/ 2874324 w 5260975"/>
              <a:gd name="connsiteY215" fmla="*/ 1286413 h 1410656"/>
              <a:gd name="connsiteX216" fmla="*/ 2911194 w 5260975"/>
              <a:gd name="connsiteY216" fmla="*/ 1305903 h 1410656"/>
              <a:gd name="connsiteX217" fmla="*/ 2978116 w 5260975"/>
              <a:gd name="connsiteY217" fmla="*/ 1314641 h 1410656"/>
              <a:gd name="connsiteX218" fmla="*/ 3012106 w 5260975"/>
              <a:gd name="connsiteY218" fmla="*/ 1287373 h 1410656"/>
              <a:gd name="connsiteX219" fmla="*/ 3029676 w 5260975"/>
              <a:gd name="connsiteY219" fmla="*/ 1261161 h 1410656"/>
              <a:gd name="connsiteX220" fmla="*/ 3080469 w 5260975"/>
              <a:gd name="connsiteY220" fmla="*/ 1230724 h 1410656"/>
              <a:gd name="connsiteX221" fmla="*/ 3092567 w 5260975"/>
              <a:gd name="connsiteY221" fmla="*/ 1242054 h 1410656"/>
              <a:gd name="connsiteX222" fmla="*/ 3129821 w 5260975"/>
              <a:gd name="connsiteY222" fmla="*/ 1246855 h 1410656"/>
              <a:gd name="connsiteX223" fmla="*/ 3170147 w 5260975"/>
              <a:gd name="connsiteY223" fmla="*/ 1246471 h 1410656"/>
              <a:gd name="connsiteX224" fmla="*/ 3240429 w 5260975"/>
              <a:gd name="connsiteY224" fmla="*/ 1251559 h 1410656"/>
              <a:gd name="connsiteX225" fmla="*/ 3287189 w 5260975"/>
              <a:gd name="connsiteY225" fmla="*/ 1222466 h 1410656"/>
              <a:gd name="connsiteX226" fmla="*/ 3305049 w 5260975"/>
              <a:gd name="connsiteY226" fmla="*/ 1210465 h 1410656"/>
              <a:gd name="connsiteX227" fmla="*/ 3321755 w 5260975"/>
              <a:gd name="connsiteY227" fmla="*/ 1202784 h 1410656"/>
              <a:gd name="connsiteX228" fmla="*/ 3341055 w 5260975"/>
              <a:gd name="connsiteY228" fmla="*/ 1198463 h 1410656"/>
              <a:gd name="connsiteX229" fmla="*/ 3387621 w 5260975"/>
              <a:gd name="connsiteY229" fmla="*/ 1182140 h 1410656"/>
              <a:gd name="connsiteX230" fmla="*/ 3413161 w 5260975"/>
              <a:gd name="connsiteY230" fmla="*/ 1166105 h 1410656"/>
              <a:gd name="connsiteX231" fmla="*/ 3470579 w 5260975"/>
              <a:gd name="connsiteY231" fmla="*/ 1150647 h 1410656"/>
              <a:gd name="connsiteX232" fmla="*/ 3509657 w 5260975"/>
              <a:gd name="connsiteY232" fmla="*/ 1136821 h 1410656"/>
              <a:gd name="connsiteX233" fmla="*/ 3550847 w 5260975"/>
              <a:gd name="connsiteY233" fmla="*/ 1113009 h 1410656"/>
              <a:gd name="connsiteX234" fmla="*/ 3556608 w 5260975"/>
              <a:gd name="connsiteY234" fmla="*/ 1109361 h 1410656"/>
              <a:gd name="connsiteX235" fmla="*/ 3570435 w 5260975"/>
              <a:gd name="connsiteY235" fmla="*/ 1093710 h 1410656"/>
              <a:gd name="connsiteX236" fmla="*/ 3590501 w 5260975"/>
              <a:gd name="connsiteY236" fmla="*/ 1039846 h 1410656"/>
              <a:gd name="connsiteX237" fmla="*/ 3596263 w 5260975"/>
              <a:gd name="connsiteY237" fmla="*/ 1028900 h 1410656"/>
              <a:gd name="connsiteX238" fmla="*/ 3648591 w 5260975"/>
              <a:gd name="connsiteY238" fmla="*/ 992030 h 1410656"/>
              <a:gd name="connsiteX239" fmla="*/ 3667986 w 5260975"/>
              <a:gd name="connsiteY239" fmla="*/ 995487 h 1410656"/>
              <a:gd name="connsiteX240" fmla="*/ 3689397 w 5260975"/>
              <a:gd name="connsiteY240" fmla="*/ 1007585 h 1410656"/>
              <a:gd name="connsiteX241" fmla="*/ 3736349 w 5260975"/>
              <a:gd name="connsiteY241" fmla="*/ 1010753 h 1410656"/>
              <a:gd name="connsiteX242" fmla="*/ 3753919 w 5260975"/>
              <a:gd name="connsiteY242" fmla="*/ 1004513 h 1410656"/>
              <a:gd name="connsiteX243" fmla="*/ 3784643 w 5260975"/>
              <a:gd name="connsiteY243" fmla="*/ 987710 h 1410656"/>
              <a:gd name="connsiteX244" fmla="*/ 3808359 w 5260975"/>
              <a:gd name="connsiteY244" fmla="*/ 961689 h 1410656"/>
              <a:gd name="connsiteX245" fmla="*/ 3842829 w 5260975"/>
              <a:gd name="connsiteY245" fmla="*/ 918674 h 1410656"/>
              <a:gd name="connsiteX246" fmla="*/ 3908983 w 5260975"/>
              <a:gd name="connsiteY246" fmla="*/ 902256 h 1410656"/>
              <a:gd name="connsiteX247" fmla="*/ 3934428 w 5260975"/>
              <a:gd name="connsiteY247" fmla="*/ 896783 h 1410656"/>
              <a:gd name="connsiteX248" fmla="*/ 4026987 w 5260975"/>
              <a:gd name="connsiteY248" fmla="*/ 873835 h 1410656"/>
              <a:gd name="connsiteX249" fmla="*/ 4035051 w 5260975"/>
              <a:gd name="connsiteY249" fmla="*/ 873067 h 1410656"/>
              <a:gd name="connsiteX250" fmla="*/ 4099189 w 5260975"/>
              <a:gd name="connsiteY250" fmla="*/ 846664 h 1410656"/>
              <a:gd name="connsiteX251" fmla="*/ 4114647 w 5260975"/>
              <a:gd name="connsiteY251" fmla="*/ 840134 h 1410656"/>
              <a:gd name="connsiteX252" fmla="*/ 4133563 w 5260975"/>
              <a:gd name="connsiteY252" fmla="*/ 823427 h 1410656"/>
              <a:gd name="connsiteX253" fmla="*/ 4151039 w 5260975"/>
              <a:gd name="connsiteY253" fmla="*/ 776284 h 1410656"/>
              <a:gd name="connsiteX254" fmla="*/ 4171489 w 5260975"/>
              <a:gd name="connsiteY254" fmla="*/ 754776 h 1410656"/>
              <a:gd name="connsiteX255" fmla="*/ 4186372 w 5260975"/>
              <a:gd name="connsiteY255" fmla="*/ 741718 h 1410656"/>
              <a:gd name="connsiteX256" fmla="*/ 4199429 w 5260975"/>
              <a:gd name="connsiteY256" fmla="*/ 721940 h 1410656"/>
              <a:gd name="connsiteX257" fmla="*/ 4212487 w 5260975"/>
              <a:gd name="connsiteY257" fmla="*/ 674604 h 1410656"/>
              <a:gd name="connsiteX258" fmla="*/ 4232555 w 5260975"/>
              <a:gd name="connsiteY258" fmla="*/ 632645 h 1410656"/>
              <a:gd name="connsiteX259" fmla="*/ 4268657 w 5260975"/>
              <a:gd name="connsiteY259" fmla="*/ 609410 h 1410656"/>
              <a:gd name="connsiteX260" fmla="*/ 4291028 w 5260975"/>
              <a:gd name="connsiteY260" fmla="*/ 597216 h 1410656"/>
              <a:gd name="connsiteX261" fmla="*/ 4379651 w 5260975"/>
              <a:gd name="connsiteY261" fmla="*/ 609506 h 1410656"/>
              <a:gd name="connsiteX262" fmla="*/ 4440139 w 5260975"/>
              <a:gd name="connsiteY262" fmla="*/ 621507 h 1410656"/>
              <a:gd name="connsiteX263" fmla="*/ 4460015 w 5260975"/>
              <a:gd name="connsiteY263" fmla="*/ 616899 h 1410656"/>
              <a:gd name="connsiteX264" fmla="*/ 4516183 w 5260975"/>
              <a:gd name="connsiteY264" fmla="*/ 577724 h 1410656"/>
              <a:gd name="connsiteX265" fmla="*/ 4571681 w 5260975"/>
              <a:gd name="connsiteY265" fmla="*/ 560250 h 1410656"/>
              <a:gd name="connsiteX266" fmla="*/ 4613447 w 5260975"/>
              <a:gd name="connsiteY266" fmla="*/ 555257 h 1410656"/>
              <a:gd name="connsiteX267" fmla="*/ 4649355 w 5260975"/>
              <a:gd name="connsiteY267" fmla="*/ 551417 h 1410656"/>
              <a:gd name="connsiteX268" fmla="*/ 4692467 w 5260975"/>
              <a:gd name="connsiteY268" fmla="*/ 540663 h 1410656"/>
              <a:gd name="connsiteX269" fmla="*/ 4716855 w 5260975"/>
              <a:gd name="connsiteY269" fmla="*/ 528949 h 1410656"/>
              <a:gd name="connsiteX270" fmla="*/ 4755645 w 5260975"/>
              <a:gd name="connsiteY270" fmla="*/ 512147 h 1410656"/>
              <a:gd name="connsiteX271" fmla="*/ 4795395 w 5260975"/>
              <a:gd name="connsiteY271" fmla="*/ 490351 h 1410656"/>
              <a:gd name="connsiteX272" fmla="*/ 4825928 w 5260975"/>
              <a:gd name="connsiteY272" fmla="*/ 459818 h 1410656"/>
              <a:gd name="connsiteX273" fmla="*/ 4842347 w 5260975"/>
              <a:gd name="connsiteY273" fmla="*/ 434086 h 1410656"/>
              <a:gd name="connsiteX274" fmla="*/ 4890451 w 5260975"/>
              <a:gd name="connsiteY274" fmla="*/ 397216 h 1410656"/>
              <a:gd name="connsiteX275" fmla="*/ 4933945 w 5260975"/>
              <a:gd name="connsiteY275" fmla="*/ 327701 h 1410656"/>
              <a:gd name="connsiteX276" fmla="*/ 4961214 w 5260975"/>
              <a:gd name="connsiteY276" fmla="*/ 298801 h 1410656"/>
              <a:gd name="connsiteX277" fmla="*/ 4976672 w 5260975"/>
              <a:gd name="connsiteY277" fmla="*/ 290639 h 1410656"/>
              <a:gd name="connsiteX278" fmla="*/ 5002979 w 5260975"/>
              <a:gd name="connsiteY278" fmla="*/ 270573 h 1410656"/>
              <a:gd name="connsiteX279" fmla="*/ 5018535 w 5260975"/>
              <a:gd name="connsiteY279" fmla="*/ 255690 h 1410656"/>
              <a:gd name="connsiteX280" fmla="*/ 5061069 w 5260975"/>
              <a:gd name="connsiteY280" fmla="*/ 200961 h 1410656"/>
              <a:gd name="connsiteX281" fmla="*/ 5074127 w 5260975"/>
              <a:gd name="connsiteY281" fmla="*/ 184735 h 1410656"/>
              <a:gd name="connsiteX282" fmla="*/ 5101108 w 5260975"/>
              <a:gd name="connsiteY282" fmla="*/ 156891 h 1410656"/>
              <a:gd name="connsiteX283" fmla="*/ 5112918 w 5260975"/>
              <a:gd name="connsiteY283" fmla="*/ 148441 h 1410656"/>
              <a:gd name="connsiteX284" fmla="*/ 5133753 w 5260975"/>
              <a:gd name="connsiteY284" fmla="*/ 125782 h 1410656"/>
              <a:gd name="connsiteX285" fmla="*/ 5183393 w 5260975"/>
              <a:gd name="connsiteY285" fmla="*/ 66348 h 1410656"/>
              <a:gd name="connsiteX286" fmla="*/ 5204709 w 5260975"/>
              <a:gd name="connsiteY286" fmla="*/ 33030 h 1410656"/>
              <a:gd name="connsiteX287" fmla="*/ 5247243 w 5260975"/>
              <a:gd name="connsiteY287" fmla="*/ 8451 h 141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Lst>
            <a:rect l="l" t="t" r="r" b="b"/>
            <a:pathLst>
              <a:path w="5260975" h="1410656">
                <a:moveTo>
                  <a:pt x="5260975" y="0"/>
                </a:moveTo>
                <a:lnTo>
                  <a:pt x="5260975" y="221634"/>
                </a:lnTo>
                <a:lnTo>
                  <a:pt x="5226503" y="237063"/>
                </a:lnTo>
                <a:cubicBezTo>
                  <a:pt x="5219783" y="239848"/>
                  <a:pt x="5212389" y="241384"/>
                  <a:pt x="5206341" y="245128"/>
                </a:cubicBezTo>
                <a:cubicBezTo>
                  <a:pt x="5178495" y="262219"/>
                  <a:pt x="5151515" y="280654"/>
                  <a:pt x="5123287" y="297073"/>
                </a:cubicBezTo>
                <a:cubicBezTo>
                  <a:pt x="5094195" y="314067"/>
                  <a:pt x="5068175" y="334134"/>
                  <a:pt x="5048107" y="361307"/>
                </a:cubicBezTo>
                <a:cubicBezTo>
                  <a:pt x="5029480" y="386559"/>
                  <a:pt x="5011429" y="412194"/>
                  <a:pt x="4992899" y="437542"/>
                </a:cubicBezTo>
                <a:cubicBezTo>
                  <a:pt x="4988194" y="443975"/>
                  <a:pt x="4983873" y="451561"/>
                  <a:pt x="4977440" y="455690"/>
                </a:cubicBezTo>
                <a:cubicBezTo>
                  <a:pt x="4964094" y="464331"/>
                  <a:pt x="4949499" y="471340"/>
                  <a:pt x="4935193" y="478445"/>
                </a:cubicBezTo>
                <a:cubicBezTo>
                  <a:pt x="4922903" y="484494"/>
                  <a:pt x="4909845" y="489006"/>
                  <a:pt x="4897844" y="495535"/>
                </a:cubicBezTo>
                <a:cubicBezTo>
                  <a:pt x="4888243" y="500721"/>
                  <a:pt x="4879697" y="507922"/>
                  <a:pt x="4870767" y="514451"/>
                </a:cubicBezTo>
                <a:cubicBezTo>
                  <a:pt x="4862990" y="520115"/>
                  <a:pt x="4854445" y="525012"/>
                  <a:pt x="4847916" y="531830"/>
                </a:cubicBezTo>
                <a:cubicBezTo>
                  <a:pt x="4831977" y="548344"/>
                  <a:pt x="4815942" y="564571"/>
                  <a:pt x="4796163" y="576765"/>
                </a:cubicBezTo>
                <a:cubicBezTo>
                  <a:pt x="4776672" y="588862"/>
                  <a:pt x="4758237" y="602401"/>
                  <a:pt x="4738843" y="614691"/>
                </a:cubicBezTo>
                <a:cubicBezTo>
                  <a:pt x="4719831" y="626693"/>
                  <a:pt x="4702645" y="639846"/>
                  <a:pt x="4692755" y="661162"/>
                </a:cubicBezTo>
                <a:cubicBezTo>
                  <a:pt x="4688339" y="670571"/>
                  <a:pt x="4682097" y="680845"/>
                  <a:pt x="4673744" y="686318"/>
                </a:cubicBezTo>
                <a:cubicBezTo>
                  <a:pt x="4661838" y="694095"/>
                  <a:pt x="4646764" y="696880"/>
                  <a:pt x="4633801" y="703505"/>
                </a:cubicBezTo>
                <a:cubicBezTo>
                  <a:pt x="4618535" y="711282"/>
                  <a:pt x="4600869" y="718003"/>
                  <a:pt x="4590499" y="730389"/>
                </a:cubicBezTo>
                <a:cubicBezTo>
                  <a:pt x="4581281" y="741431"/>
                  <a:pt x="4571968" y="750072"/>
                  <a:pt x="4559773" y="757081"/>
                </a:cubicBezTo>
                <a:cubicBezTo>
                  <a:pt x="4551229" y="761978"/>
                  <a:pt x="4544892" y="770907"/>
                  <a:pt x="4536059" y="774940"/>
                </a:cubicBezTo>
                <a:cubicBezTo>
                  <a:pt x="4524441" y="780317"/>
                  <a:pt x="4512727" y="784542"/>
                  <a:pt x="4502549" y="792895"/>
                </a:cubicBezTo>
                <a:cubicBezTo>
                  <a:pt x="4491987" y="801536"/>
                  <a:pt x="4479986" y="808353"/>
                  <a:pt x="4468944" y="816419"/>
                </a:cubicBezTo>
                <a:cubicBezTo>
                  <a:pt x="4463087" y="820739"/>
                  <a:pt x="4458286" y="826404"/>
                  <a:pt x="4452622" y="830917"/>
                </a:cubicBezTo>
                <a:cubicBezTo>
                  <a:pt x="4442252" y="839174"/>
                  <a:pt x="4431690" y="847239"/>
                  <a:pt x="4421032" y="855016"/>
                </a:cubicBezTo>
                <a:cubicBezTo>
                  <a:pt x="4410375" y="862794"/>
                  <a:pt x="4400197" y="871819"/>
                  <a:pt x="4388483" y="877484"/>
                </a:cubicBezTo>
                <a:cubicBezTo>
                  <a:pt x="4368513" y="887086"/>
                  <a:pt x="4346717" y="892847"/>
                  <a:pt x="4327321" y="903216"/>
                </a:cubicBezTo>
                <a:cubicBezTo>
                  <a:pt x="4307639" y="913777"/>
                  <a:pt x="4289107" y="927028"/>
                  <a:pt x="4271633" y="941046"/>
                </a:cubicBezTo>
                <a:cubicBezTo>
                  <a:pt x="4257807" y="952088"/>
                  <a:pt x="4244845" y="963034"/>
                  <a:pt x="4227465" y="968698"/>
                </a:cubicBezTo>
                <a:cubicBezTo>
                  <a:pt x="4217768" y="971867"/>
                  <a:pt x="4207591" y="978780"/>
                  <a:pt x="4201733" y="986846"/>
                </a:cubicBezTo>
                <a:cubicBezTo>
                  <a:pt x="4189059" y="1004416"/>
                  <a:pt x="4172833" y="1016802"/>
                  <a:pt x="4154494" y="1027364"/>
                </a:cubicBezTo>
                <a:cubicBezTo>
                  <a:pt x="4130010" y="1041574"/>
                  <a:pt x="4105814" y="1056072"/>
                  <a:pt x="4081234" y="1069994"/>
                </a:cubicBezTo>
                <a:cubicBezTo>
                  <a:pt x="4066737" y="1078252"/>
                  <a:pt x="4052335" y="1086989"/>
                  <a:pt x="4036971" y="1093038"/>
                </a:cubicBezTo>
                <a:cubicBezTo>
                  <a:pt x="4005575" y="1105520"/>
                  <a:pt x="3973410" y="1116177"/>
                  <a:pt x="3941725" y="1127796"/>
                </a:cubicBezTo>
                <a:cubicBezTo>
                  <a:pt x="3931355" y="1131540"/>
                  <a:pt x="3921561" y="1136917"/>
                  <a:pt x="3910999" y="1140182"/>
                </a:cubicBezTo>
                <a:cubicBezTo>
                  <a:pt x="3899573" y="1143734"/>
                  <a:pt x="3887285" y="1144790"/>
                  <a:pt x="3875859" y="1148343"/>
                </a:cubicBezTo>
                <a:cubicBezTo>
                  <a:pt x="3856847" y="1154199"/>
                  <a:pt x="3838412" y="1161689"/>
                  <a:pt x="3819401" y="1167642"/>
                </a:cubicBezTo>
                <a:cubicBezTo>
                  <a:pt x="3782723" y="1179068"/>
                  <a:pt x="3745949" y="1190014"/>
                  <a:pt x="3709176" y="1200863"/>
                </a:cubicBezTo>
                <a:cubicBezTo>
                  <a:pt x="3701303" y="1203168"/>
                  <a:pt x="3692757" y="1203456"/>
                  <a:pt x="3684981" y="1205952"/>
                </a:cubicBezTo>
                <a:cubicBezTo>
                  <a:pt x="3664337" y="1212673"/>
                  <a:pt x="3643789" y="1219970"/>
                  <a:pt x="3623338" y="1227363"/>
                </a:cubicBezTo>
                <a:cubicBezTo>
                  <a:pt x="3610953" y="1231876"/>
                  <a:pt x="3598854" y="1237445"/>
                  <a:pt x="3586373" y="1241765"/>
                </a:cubicBezTo>
                <a:cubicBezTo>
                  <a:pt x="3576387" y="1245222"/>
                  <a:pt x="3566113" y="1247910"/>
                  <a:pt x="3555743" y="1250023"/>
                </a:cubicBezTo>
                <a:cubicBezTo>
                  <a:pt x="3546814" y="1251848"/>
                  <a:pt x="3537501" y="1251655"/>
                  <a:pt x="3528667" y="1253864"/>
                </a:cubicBezTo>
                <a:cubicBezTo>
                  <a:pt x="3504759" y="1259816"/>
                  <a:pt x="3481140" y="1266538"/>
                  <a:pt x="3457424" y="1272874"/>
                </a:cubicBezTo>
                <a:cubicBezTo>
                  <a:pt x="3447919" y="1275371"/>
                  <a:pt x="3438221" y="1277196"/>
                  <a:pt x="3429003" y="1280364"/>
                </a:cubicBezTo>
                <a:cubicBezTo>
                  <a:pt x="3404327" y="1288717"/>
                  <a:pt x="3380036" y="1298222"/>
                  <a:pt x="3355264" y="1306096"/>
                </a:cubicBezTo>
                <a:cubicBezTo>
                  <a:pt x="3334717" y="1312625"/>
                  <a:pt x="3313593" y="1317329"/>
                  <a:pt x="3292757" y="1323090"/>
                </a:cubicBezTo>
                <a:cubicBezTo>
                  <a:pt x="3283924" y="1325587"/>
                  <a:pt x="3275475" y="1329140"/>
                  <a:pt x="3266643" y="1331251"/>
                </a:cubicBezTo>
                <a:cubicBezTo>
                  <a:pt x="3246863" y="1336053"/>
                  <a:pt x="3226796" y="1340085"/>
                  <a:pt x="3206921" y="1344886"/>
                </a:cubicBezTo>
                <a:cubicBezTo>
                  <a:pt x="3195590" y="1347670"/>
                  <a:pt x="3184645" y="1352663"/>
                  <a:pt x="3173123" y="1354488"/>
                </a:cubicBezTo>
                <a:cubicBezTo>
                  <a:pt x="3145759" y="1358808"/>
                  <a:pt x="3118203" y="1361880"/>
                  <a:pt x="3090646" y="1365337"/>
                </a:cubicBezTo>
                <a:cubicBezTo>
                  <a:pt x="3062227" y="1368889"/>
                  <a:pt x="3033902" y="1372634"/>
                  <a:pt x="3005480" y="1375802"/>
                </a:cubicBezTo>
                <a:cubicBezTo>
                  <a:pt x="2989926" y="1377435"/>
                  <a:pt x="2974275" y="1377723"/>
                  <a:pt x="2958721" y="1379259"/>
                </a:cubicBezTo>
                <a:cubicBezTo>
                  <a:pt x="2945087" y="1380604"/>
                  <a:pt x="2931549" y="1383100"/>
                  <a:pt x="2917915" y="1384733"/>
                </a:cubicBezTo>
                <a:cubicBezTo>
                  <a:pt x="2906105" y="1386076"/>
                  <a:pt x="2894199" y="1386844"/>
                  <a:pt x="2882389" y="1388189"/>
                </a:cubicBezTo>
                <a:cubicBezTo>
                  <a:pt x="2863475" y="1390397"/>
                  <a:pt x="2844655" y="1392894"/>
                  <a:pt x="2825837" y="1395198"/>
                </a:cubicBezTo>
                <a:cubicBezTo>
                  <a:pt x="2817964" y="1396062"/>
                  <a:pt x="2809706" y="1398462"/>
                  <a:pt x="2802313" y="1397023"/>
                </a:cubicBezTo>
                <a:cubicBezTo>
                  <a:pt x="2783686" y="1393373"/>
                  <a:pt x="2765347" y="1394430"/>
                  <a:pt x="2746816" y="1396926"/>
                </a:cubicBezTo>
                <a:cubicBezTo>
                  <a:pt x="2740479" y="1397791"/>
                  <a:pt x="2733662" y="1397598"/>
                  <a:pt x="2727517" y="1395966"/>
                </a:cubicBezTo>
                <a:cubicBezTo>
                  <a:pt x="2714939" y="1392701"/>
                  <a:pt x="2702745" y="1388092"/>
                  <a:pt x="2690359" y="1384060"/>
                </a:cubicBezTo>
                <a:cubicBezTo>
                  <a:pt x="2689014" y="1383580"/>
                  <a:pt x="2687382" y="1383484"/>
                  <a:pt x="2685943" y="1383196"/>
                </a:cubicBezTo>
                <a:cubicBezTo>
                  <a:pt x="2677781" y="1381563"/>
                  <a:pt x="2669717" y="1379931"/>
                  <a:pt x="2661554" y="1378491"/>
                </a:cubicBezTo>
                <a:cubicBezTo>
                  <a:pt x="2657138" y="1377723"/>
                  <a:pt x="2652625" y="1377627"/>
                  <a:pt x="2648208" y="1376955"/>
                </a:cubicBezTo>
                <a:cubicBezTo>
                  <a:pt x="2631118" y="1374266"/>
                  <a:pt x="2612299" y="1378779"/>
                  <a:pt x="2597512" y="1367162"/>
                </a:cubicBezTo>
                <a:cubicBezTo>
                  <a:pt x="2587911" y="1359672"/>
                  <a:pt x="2578597" y="1361401"/>
                  <a:pt x="2568324" y="1362553"/>
                </a:cubicBezTo>
                <a:cubicBezTo>
                  <a:pt x="2560547" y="1363417"/>
                  <a:pt x="2552577" y="1363128"/>
                  <a:pt x="2544704" y="1363225"/>
                </a:cubicBezTo>
                <a:cubicBezTo>
                  <a:pt x="2530878" y="1363512"/>
                  <a:pt x="2517052" y="1363609"/>
                  <a:pt x="2503225" y="1364089"/>
                </a:cubicBezTo>
                <a:cubicBezTo>
                  <a:pt x="2498808" y="1364281"/>
                  <a:pt x="2494297" y="1366682"/>
                  <a:pt x="2489975" y="1366298"/>
                </a:cubicBezTo>
                <a:cubicBezTo>
                  <a:pt x="2470004" y="1364473"/>
                  <a:pt x="2450033" y="1361592"/>
                  <a:pt x="2430061" y="1359960"/>
                </a:cubicBezTo>
                <a:cubicBezTo>
                  <a:pt x="2418732" y="1359001"/>
                  <a:pt x="2407114" y="1360824"/>
                  <a:pt x="2395880" y="1359480"/>
                </a:cubicBezTo>
                <a:cubicBezTo>
                  <a:pt x="2382919" y="1357944"/>
                  <a:pt x="2370245" y="1354008"/>
                  <a:pt x="2357378" y="1351607"/>
                </a:cubicBezTo>
                <a:cubicBezTo>
                  <a:pt x="2353826" y="1350935"/>
                  <a:pt x="2349889" y="1351799"/>
                  <a:pt x="2346145" y="1351991"/>
                </a:cubicBezTo>
                <a:cubicBezTo>
                  <a:pt x="2341920" y="1352183"/>
                  <a:pt x="2337791" y="1352567"/>
                  <a:pt x="2333567" y="1352663"/>
                </a:cubicBezTo>
                <a:cubicBezTo>
                  <a:pt x="2320700" y="1352856"/>
                  <a:pt x="2307835" y="1352567"/>
                  <a:pt x="2294968" y="1353240"/>
                </a:cubicBezTo>
                <a:cubicBezTo>
                  <a:pt x="2287095" y="1353624"/>
                  <a:pt x="2278839" y="1357560"/>
                  <a:pt x="2271540" y="1356120"/>
                </a:cubicBezTo>
                <a:cubicBezTo>
                  <a:pt x="2256659" y="1353335"/>
                  <a:pt x="2241776" y="1359576"/>
                  <a:pt x="2226895" y="1354392"/>
                </a:cubicBezTo>
                <a:cubicBezTo>
                  <a:pt x="2222285" y="1352856"/>
                  <a:pt x="2215948" y="1356696"/>
                  <a:pt x="2210379" y="1356888"/>
                </a:cubicBezTo>
                <a:cubicBezTo>
                  <a:pt x="2196457" y="1357368"/>
                  <a:pt x="2182535" y="1357272"/>
                  <a:pt x="2168613" y="1357176"/>
                </a:cubicBezTo>
                <a:cubicBezTo>
                  <a:pt x="2156131" y="1357080"/>
                  <a:pt x="2143168" y="1358424"/>
                  <a:pt x="2131167" y="1355736"/>
                </a:cubicBezTo>
                <a:cubicBezTo>
                  <a:pt x="2118588" y="1352856"/>
                  <a:pt x="2107259" y="1353240"/>
                  <a:pt x="2095065" y="1356504"/>
                </a:cubicBezTo>
                <a:cubicBezTo>
                  <a:pt x="2086711" y="1358712"/>
                  <a:pt x="2077878" y="1359001"/>
                  <a:pt x="2069237" y="1359672"/>
                </a:cubicBezTo>
                <a:cubicBezTo>
                  <a:pt x="2059924" y="1360440"/>
                  <a:pt x="2049650" y="1358424"/>
                  <a:pt x="2041201" y="1361592"/>
                </a:cubicBezTo>
                <a:cubicBezTo>
                  <a:pt x="2016044" y="1371002"/>
                  <a:pt x="1990216" y="1373018"/>
                  <a:pt x="1963909" y="1373018"/>
                </a:cubicBezTo>
                <a:cubicBezTo>
                  <a:pt x="1959107" y="1373018"/>
                  <a:pt x="1954210" y="1371675"/>
                  <a:pt x="1949603" y="1370234"/>
                </a:cubicBezTo>
                <a:cubicBezTo>
                  <a:pt x="1922717" y="1361592"/>
                  <a:pt x="1895737" y="1362360"/>
                  <a:pt x="1868373" y="1367641"/>
                </a:cubicBezTo>
                <a:cubicBezTo>
                  <a:pt x="1862708" y="1368794"/>
                  <a:pt x="1856372" y="1368986"/>
                  <a:pt x="1850707" y="1367834"/>
                </a:cubicBezTo>
                <a:cubicBezTo>
                  <a:pt x="1834768" y="1364473"/>
                  <a:pt x="1819309" y="1358904"/>
                  <a:pt x="1803275" y="1356504"/>
                </a:cubicBezTo>
                <a:cubicBezTo>
                  <a:pt x="1776775" y="1352567"/>
                  <a:pt x="1753828" y="1365817"/>
                  <a:pt x="1730112" y="1374459"/>
                </a:cubicBezTo>
                <a:cubicBezTo>
                  <a:pt x="1707548" y="1382620"/>
                  <a:pt x="1688345" y="1401055"/>
                  <a:pt x="1661652" y="1396926"/>
                </a:cubicBezTo>
                <a:cubicBezTo>
                  <a:pt x="1658965" y="1396542"/>
                  <a:pt x="1655988" y="1399134"/>
                  <a:pt x="1653011" y="1399807"/>
                </a:cubicBezTo>
                <a:cubicBezTo>
                  <a:pt x="1644850" y="1401631"/>
                  <a:pt x="1636689" y="1403839"/>
                  <a:pt x="1628431" y="1404704"/>
                </a:cubicBezTo>
                <a:cubicBezTo>
                  <a:pt x="1618350" y="1405856"/>
                  <a:pt x="1608076" y="1405472"/>
                  <a:pt x="1597995" y="1406432"/>
                </a:cubicBezTo>
                <a:cubicBezTo>
                  <a:pt x="1585032" y="1407584"/>
                  <a:pt x="1572263" y="1410656"/>
                  <a:pt x="1559396" y="1410656"/>
                </a:cubicBezTo>
                <a:cubicBezTo>
                  <a:pt x="1549026" y="1410656"/>
                  <a:pt x="1538753" y="1407104"/>
                  <a:pt x="1528480" y="1405375"/>
                </a:cubicBezTo>
                <a:cubicBezTo>
                  <a:pt x="1513981" y="1402975"/>
                  <a:pt x="1498042" y="1403647"/>
                  <a:pt x="1485272" y="1397502"/>
                </a:cubicBezTo>
                <a:cubicBezTo>
                  <a:pt x="1471639" y="1390973"/>
                  <a:pt x="1458676" y="1387997"/>
                  <a:pt x="1444562" y="1390013"/>
                </a:cubicBezTo>
                <a:cubicBezTo>
                  <a:pt x="1439857" y="1390685"/>
                  <a:pt x="1433808" y="1394718"/>
                  <a:pt x="1431696" y="1398846"/>
                </a:cubicBezTo>
                <a:cubicBezTo>
                  <a:pt x="1426991" y="1408064"/>
                  <a:pt x="1420559" y="1409697"/>
                  <a:pt x="1411821" y="1406527"/>
                </a:cubicBezTo>
                <a:cubicBezTo>
                  <a:pt x="1404236" y="1403839"/>
                  <a:pt x="1394922" y="1402495"/>
                  <a:pt x="1389738" y="1397310"/>
                </a:cubicBezTo>
                <a:cubicBezTo>
                  <a:pt x="1375047" y="1382620"/>
                  <a:pt x="1356324" y="1382140"/>
                  <a:pt x="1338081" y="1378204"/>
                </a:cubicBezTo>
                <a:cubicBezTo>
                  <a:pt x="1326945" y="1375802"/>
                  <a:pt x="1316574" y="1375707"/>
                  <a:pt x="1305436" y="1377339"/>
                </a:cubicBezTo>
                <a:cubicBezTo>
                  <a:pt x="1281241" y="1380988"/>
                  <a:pt x="1257717" y="1375802"/>
                  <a:pt x="1234481" y="1369178"/>
                </a:cubicBezTo>
                <a:cubicBezTo>
                  <a:pt x="1219118" y="1364761"/>
                  <a:pt x="1203372" y="1362073"/>
                  <a:pt x="1188106" y="1357560"/>
                </a:cubicBezTo>
                <a:cubicBezTo>
                  <a:pt x="1176680" y="1354104"/>
                  <a:pt x="1165255" y="1349975"/>
                  <a:pt x="1154790" y="1344406"/>
                </a:cubicBezTo>
                <a:cubicBezTo>
                  <a:pt x="1139618" y="1336244"/>
                  <a:pt x="1126369" y="1323954"/>
                  <a:pt x="1107069" y="1327219"/>
                </a:cubicBezTo>
                <a:cubicBezTo>
                  <a:pt x="1090074" y="1330099"/>
                  <a:pt x="1074713" y="1324051"/>
                  <a:pt x="1059158" y="1318290"/>
                </a:cubicBezTo>
                <a:cubicBezTo>
                  <a:pt x="1047732" y="1314065"/>
                  <a:pt x="1036308" y="1309744"/>
                  <a:pt x="1024496" y="1307056"/>
                </a:cubicBezTo>
                <a:cubicBezTo>
                  <a:pt x="1010478" y="1303887"/>
                  <a:pt x="994635" y="1305232"/>
                  <a:pt x="982153" y="1299374"/>
                </a:cubicBezTo>
                <a:cubicBezTo>
                  <a:pt x="969095" y="1293229"/>
                  <a:pt x="958246" y="1297358"/>
                  <a:pt x="946628" y="1299087"/>
                </a:cubicBezTo>
                <a:cubicBezTo>
                  <a:pt x="928097" y="1301775"/>
                  <a:pt x="909661" y="1306768"/>
                  <a:pt x="890939" y="1300431"/>
                </a:cubicBezTo>
                <a:cubicBezTo>
                  <a:pt x="868184" y="1292750"/>
                  <a:pt x="845620" y="1284493"/>
                  <a:pt x="822769" y="1277196"/>
                </a:cubicBezTo>
                <a:cubicBezTo>
                  <a:pt x="813934" y="1274410"/>
                  <a:pt x="804431" y="1273258"/>
                  <a:pt x="795212" y="1272010"/>
                </a:cubicBezTo>
                <a:cubicBezTo>
                  <a:pt x="786476" y="1270954"/>
                  <a:pt x="776010" y="1273642"/>
                  <a:pt x="769288" y="1269610"/>
                </a:cubicBezTo>
                <a:cubicBezTo>
                  <a:pt x="752005" y="1259241"/>
                  <a:pt x="734243" y="1254152"/>
                  <a:pt x="714271" y="1254152"/>
                </a:cubicBezTo>
                <a:cubicBezTo>
                  <a:pt x="706781" y="1254152"/>
                  <a:pt x="699484" y="1249831"/>
                  <a:pt x="691900" y="1249062"/>
                </a:cubicBezTo>
                <a:cubicBezTo>
                  <a:pt x="681529" y="1248103"/>
                  <a:pt x="669623" y="1245510"/>
                  <a:pt x="660598" y="1249159"/>
                </a:cubicBezTo>
                <a:cubicBezTo>
                  <a:pt x="639379" y="1257800"/>
                  <a:pt x="622193" y="1250599"/>
                  <a:pt x="603662" y="1242054"/>
                </a:cubicBezTo>
                <a:cubicBezTo>
                  <a:pt x="585418" y="1233604"/>
                  <a:pt x="566215" y="1226884"/>
                  <a:pt x="546821" y="1221314"/>
                </a:cubicBezTo>
                <a:cubicBezTo>
                  <a:pt x="539524" y="1219298"/>
                  <a:pt x="530787" y="1222659"/>
                  <a:pt x="522721" y="1223330"/>
                </a:cubicBezTo>
                <a:cubicBezTo>
                  <a:pt x="519840" y="1223523"/>
                  <a:pt x="516671" y="1223811"/>
                  <a:pt x="514080" y="1222851"/>
                </a:cubicBezTo>
                <a:cubicBezTo>
                  <a:pt x="489020" y="1213633"/>
                  <a:pt x="463575" y="1206624"/>
                  <a:pt x="436404" y="1211424"/>
                </a:cubicBezTo>
                <a:cubicBezTo>
                  <a:pt x="433908" y="1211905"/>
                  <a:pt x="431123" y="1210849"/>
                  <a:pt x="428626" y="1210177"/>
                </a:cubicBezTo>
                <a:cubicBezTo>
                  <a:pt x="416432" y="1206720"/>
                  <a:pt x="404526" y="1201247"/>
                  <a:pt x="392141" y="1199999"/>
                </a:cubicBezTo>
                <a:cubicBezTo>
                  <a:pt x="361608" y="1196927"/>
                  <a:pt x="330884" y="1195678"/>
                  <a:pt x="300157" y="1193662"/>
                </a:cubicBezTo>
                <a:cubicBezTo>
                  <a:pt x="298237" y="1193566"/>
                  <a:pt x="296221" y="1193566"/>
                  <a:pt x="294493" y="1192894"/>
                </a:cubicBezTo>
                <a:cubicBezTo>
                  <a:pt x="283163" y="1188765"/>
                  <a:pt x="273274" y="1190110"/>
                  <a:pt x="263671" y="1197982"/>
                </a:cubicBezTo>
                <a:cubicBezTo>
                  <a:pt x="259447" y="1201439"/>
                  <a:pt x="253686" y="1203263"/>
                  <a:pt x="248406" y="1205184"/>
                </a:cubicBezTo>
                <a:cubicBezTo>
                  <a:pt x="240628" y="1208065"/>
                  <a:pt x="232659" y="1210849"/>
                  <a:pt x="224594" y="1212673"/>
                </a:cubicBezTo>
                <a:cubicBezTo>
                  <a:pt x="216624" y="1214401"/>
                  <a:pt x="208079" y="1216801"/>
                  <a:pt x="200398" y="1215458"/>
                </a:cubicBezTo>
                <a:cubicBezTo>
                  <a:pt x="186572" y="1213057"/>
                  <a:pt x="173417" y="1207681"/>
                  <a:pt x="159783" y="1204127"/>
                </a:cubicBezTo>
                <a:cubicBezTo>
                  <a:pt x="155079" y="1202879"/>
                  <a:pt x="149893" y="1203072"/>
                  <a:pt x="144997" y="1202975"/>
                </a:cubicBezTo>
                <a:cubicBezTo>
                  <a:pt x="133763" y="1202688"/>
                  <a:pt x="122241" y="1205472"/>
                  <a:pt x="112064" y="1197503"/>
                </a:cubicBezTo>
                <a:cubicBezTo>
                  <a:pt x="102655" y="1190014"/>
                  <a:pt x="93148" y="1192221"/>
                  <a:pt x="83259" y="1197887"/>
                </a:cubicBezTo>
                <a:cubicBezTo>
                  <a:pt x="76154" y="1201920"/>
                  <a:pt x="68090" y="1205088"/>
                  <a:pt x="60120" y="1206624"/>
                </a:cubicBezTo>
                <a:cubicBezTo>
                  <a:pt x="49174" y="1208736"/>
                  <a:pt x="38324" y="1209601"/>
                  <a:pt x="26514" y="1208352"/>
                </a:cubicBezTo>
                <a:cubicBezTo>
                  <a:pt x="18161" y="1207488"/>
                  <a:pt x="11343" y="1207104"/>
                  <a:pt x="4814" y="1202015"/>
                </a:cubicBezTo>
                <a:cubicBezTo>
                  <a:pt x="3759" y="1201247"/>
                  <a:pt x="1839" y="1201055"/>
                  <a:pt x="398" y="1201152"/>
                </a:cubicBezTo>
                <a:lnTo>
                  <a:pt x="0" y="1201150"/>
                </a:lnTo>
                <a:lnTo>
                  <a:pt x="0" y="1004512"/>
                </a:lnTo>
                <a:lnTo>
                  <a:pt x="30355" y="1002784"/>
                </a:lnTo>
                <a:cubicBezTo>
                  <a:pt x="37748" y="1002111"/>
                  <a:pt x="44853" y="999520"/>
                  <a:pt x="52151" y="997695"/>
                </a:cubicBezTo>
                <a:cubicBezTo>
                  <a:pt x="56183" y="996639"/>
                  <a:pt x="60504" y="993855"/>
                  <a:pt x="64248" y="994430"/>
                </a:cubicBezTo>
                <a:cubicBezTo>
                  <a:pt x="85948" y="997791"/>
                  <a:pt x="105823" y="989534"/>
                  <a:pt x="126370" y="985405"/>
                </a:cubicBezTo>
                <a:cubicBezTo>
                  <a:pt x="135876" y="983485"/>
                  <a:pt x="144805" y="978876"/>
                  <a:pt x="154022" y="975708"/>
                </a:cubicBezTo>
                <a:cubicBezTo>
                  <a:pt x="156423" y="974843"/>
                  <a:pt x="159111" y="974075"/>
                  <a:pt x="161512" y="974268"/>
                </a:cubicBezTo>
                <a:cubicBezTo>
                  <a:pt x="175242" y="975420"/>
                  <a:pt x="188876" y="977052"/>
                  <a:pt x="202510" y="978300"/>
                </a:cubicBezTo>
                <a:cubicBezTo>
                  <a:pt x="214896" y="979452"/>
                  <a:pt x="227378" y="979836"/>
                  <a:pt x="233235" y="993950"/>
                </a:cubicBezTo>
                <a:cubicBezTo>
                  <a:pt x="234100" y="996159"/>
                  <a:pt x="236979" y="997791"/>
                  <a:pt x="239188" y="999231"/>
                </a:cubicBezTo>
                <a:cubicBezTo>
                  <a:pt x="273274" y="1021411"/>
                  <a:pt x="291516" y="1020835"/>
                  <a:pt x="324834" y="997407"/>
                </a:cubicBezTo>
                <a:cubicBezTo>
                  <a:pt x="328290" y="995007"/>
                  <a:pt x="335683" y="993278"/>
                  <a:pt x="337987" y="995198"/>
                </a:cubicBezTo>
                <a:cubicBezTo>
                  <a:pt x="357575" y="1011137"/>
                  <a:pt x="378986" y="1009409"/>
                  <a:pt x="401550" y="1004416"/>
                </a:cubicBezTo>
                <a:cubicBezTo>
                  <a:pt x="407407" y="1003072"/>
                  <a:pt x="415664" y="1003072"/>
                  <a:pt x="420081" y="1006240"/>
                </a:cubicBezTo>
                <a:cubicBezTo>
                  <a:pt x="441108" y="1020930"/>
                  <a:pt x="463672" y="1018819"/>
                  <a:pt x="486523" y="1014498"/>
                </a:cubicBezTo>
                <a:cubicBezTo>
                  <a:pt x="490075" y="1013826"/>
                  <a:pt x="494397" y="1010177"/>
                  <a:pt x="495932" y="1006817"/>
                </a:cubicBezTo>
                <a:cubicBezTo>
                  <a:pt x="501406" y="994911"/>
                  <a:pt x="511680" y="990878"/>
                  <a:pt x="523009" y="987517"/>
                </a:cubicBezTo>
                <a:cubicBezTo>
                  <a:pt x="540868" y="982044"/>
                  <a:pt x="558438" y="975611"/>
                  <a:pt x="576393" y="970427"/>
                </a:cubicBezTo>
                <a:cubicBezTo>
                  <a:pt x="580811" y="969179"/>
                  <a:pt x="586283" y="969947"/>
                  <a:pt x="590892" y="971387"/>
                </a:cubicBezTo>
                <a:cubicBezTo>
                  <a:pt x="606638" y="976284"/>
                  <a:pt x="616624" y="988574"/>
                  <a:pt x="627569" y="999904"/>
                </a:cubicBezTo>
                <a:cubicBezTo>
                  <a:pt x="632370" y="1004897"/>
                  <a:pt x="638995" y="1008449"/>
                  <a:pt x="645429" y="1011329"/>
                </a:cubicBezTo>
                <a:cubicBezTo>
                  <a:pt x="662135" y="1018723"/>
                  <a:pt x="679226" y="1025348"/>
                  <a:pt x="696125" y="1032356"/>
                </a:cubicBezTo>
                <a:cubicBezTo>
                  <a:pt x="697757" y="1033029"/>
                  <a:pt x="699100" y="1034757"/>
                  <a:pt x="700349" y="1036197"/>
                </a:cubicBezTo>
                <a:cubicBezTo>
                  <a:pt x="712831" y="1051368"/>
                  <a:pt x="725216" y="1066634"/>
                  <a:pt x="737795" y="1081804"/>
                </a:cubicBezTo>
                <a:cubicBezTo>
                  <a:pt x="740195" y="1084684"/>
                  <a:pt x="743652" y="1086797"/>
                  <a:pt x="746244" y="1089581"/>
                </a:cubicBezTo>
                <a:cubicBezTo>
                  <a:pt x="749893" y="1093422"/>
                  <a:pt x="754502" y="1097071"/>
                  <a:pt x="756422" y="1101680"/>
                </a:cubicBezTo>
                <a:cubicBezTo>
                  <a:pt x="762374" y="1116177"/>
                  <a:pt x="773801" y="1122419"/>
                  <a:pt x="788202" y="1125108"/>
                </a:cubicBezTo>
                <a:cubicBezTo>
                  <a:pt x="801357" y="1127603"/>
                  <a:pt x="814511" y="1129716"/>
                  <a:pt x="827569" y="1132596"/>
                </a:cubicBezTo>
                <a:cubicBezTo>
                  <a:pt x="843507" y="1136053"/>
                  <a:pt x="859350" y="1139798"/>
                  <a:pt x="875097" y="1144022"/>
                </a:cubicBezTo>
                <a:cubicBezTo>
                  <a:pt x="881913" y="1145847"/>
                  <a:pt x="889115" y="1147959"/>
                  <a:pt x="894972" y="1151704"/>
                </a:cubicBezTo>
                <a:cubicBezTo>
                  <a:pt x="911390" y="1162073"/>
                  <a:pt x="928961" y="1169082"/>
                  <a:pt x="948260" y="1166298"/>
                </a:cubicBezTo>
                <a:cubicBezTo>
                  <a:pt x="963718" y="1164089"/>
                  <a:pt x="976680" y="1169754"/>
                  <a:pt x="986282" y="1178588"/>
                </a:cubicBezTo>
                <a:cubicBezTo>
                  <a:pt x="1003757" y="1194623"/>
                  <a:pt x="1022479" y="1190973"/>
                  <a:pt x="1041107" y="1185789"/>
                </a:cubicBezTo>
                <a:cubicBezTo>
                  <a:pt x="1050708" y="1183101"/>
                  <a:pt x="1058581" y="1183485"/>
                  <a:pt x="1067703" y="1186076"/>
                </a:cubicBezTo>
                <a:cubicBezTo>
                  <a:pt x="1088826" y="1192126"/>
                  <a:pt x="1102941" y="1208544"/>
                  <a:pt x="1116574" y="1222946"/>
                </a:cubicBezTo>
                <a:cubicBezTo>
                  <a:pt x="1128193" y="1235236"/>
                  <a:pt x="1141251" y="1242149"/>
                  <a:pt x="1155557" y="1247335"/>
                </a:cubicBezTo>
                <a:cubicBezTo>
                  <a:pt x="1173608" y="1253959"/>
                  <a:pt x="1187914" y="1251464"/>
                  <a:pt x="1196556" y="1235525"/>
                </a:cubicBezTo>
                <a:cubicBezTo>
                  <a:pt x="1198956" y="1231012"/>
                  <a:pt x="1203180" y="1225730"/>
                  <a:pt x="1207693" y="1224387"/>
                </a:cubicBezTo>
                <a:cubicBezTo>
                  <a:pt x="1229488" y="1217666"/>
                  <a:pt x="1251572" y="1207872"/>
                  <a:pt x="1274904" y="1213826"/>
                </a:cubicBezTo>
                <a:cubicBezTo>
                  <a:pt x="1307165" y="1221987"/>
                  <a:pt x="1338658" y="1221507"/>
                  <a:pt x="1370919" y="1213442"/>
                </a:cubicBezTo>
                <a:cubicBezTo>
                  <a:pt x="1423247" y="1200383"/>
                  <a:pt x="1475575" y="1186557"/>
                  <a:pt x="1530593" y="1189437"/>
                </a:cubicBezTo>
                <a:cubicBezTo>
                  <a:pt x="1539713" y="1189917"/>
                  <a:pt x="1550563" y="1184060"/>
                  <a:pt x="1558436" y="1178299"/>
                </a:cubicBezTo>
                <a:cubicBezTo>
                  <a:pt x="1573511" y="1167354"/>
                  <a:pt x="1572838" y="1166489"/>
                  <a:pt x="1589737" y="1175515"/>
                </a:cubicBezTo>
                <a:cubicBezTo>
                  <a:pt x="1593770" y="1177724"/>
                  <a:pt x="1598763" y="1179068"/>
                  <a:pt x="1601740" y="1182333"/>
                </a:cubicBezTo>
                <a:cubicBezTo>
                  <a:pt x="1616909" y="1198943"/>
                  <a:pt x="1635633" y="1194910"/>
                  <a:pt x="1654259" y="1192510"/>
                </a:cubicBezTo>
                <a:cubicBezTo>
                  <a:pt x="1657524" y="1192030"/>
                  <a:pt x="1661460" y="1191358"/>
                  <a:pt x="1664246" y="1192702"/>
                </a:cubicBezTo>
                <a:cubicBezTo>
                  <a:pt x="1676823" y="1198750"/>
                  <a:pt x="1687481" y="1196639"/>
                  <a:pt x="1698427" y="1188381"/>
                </a:cubicBezTo>
                <a:cubicBezTo>
                  <a:pt x="1707932" y="1181276"/>
                  <a:pt x="1718878" y="1177052"/>
                  <a:pt x="1730112" y="1185885"/>
                </a:cubicBezTo>
                <a:cubicBezTo>
                  <a:pt x="1755076" y="1205472"/>
                  <a:pt x="1781767" y="1206432"/>
                  <a:pt x="1809996" y="1194046"/>
                </a:cubicBezTo>
                <a:cubicBezTo>
                  <a:pt x="1830159" y="1185213"/>
                  <a:pt x="1850034" y="1183196"/>
                  <a:pt x="1871254" y="1192126"/>
                </a:cubicBezTo>
                <a:cubicBezTo>
                  <a:pt x="1879415" y="1195582"/>
                  <a:pt x="1889977" y="1193278"/>
                  <a:pt x="1899482" y="1194046"/>
                </a:cubicBezTo>
                <a:cubicBezTo>
                  <a:pt x="1904859" y="1194430"/>
                  <a:pt x="1910813" y="1194526"/>
                  <a:pt x="1915420" y="1196927"/>
                </a:cubicBezTo>
                <a:cubicBezTo>
                  <a:pt x="1927711" y="1203072"/>
                  <a:pt x="1939136" y="1210945"/>
                  <a:pt x="1951522" y="1216994"/>
                </a:cubicBezTo>
                <a:cubicBezTo>
                  <a:pt x="1957475" y="1219874"/>
                  <a:pt x="1964580" y="1221410"/>
                  <a:pt x="1971302" y="1221507"/>
                </a:cubicBezTo>
                <a:cubicBezTo>
                  <a:pt x="1991177" y="1221987"/>
                  <a:pt x="2011052" y="1221987"/>
                  <a:pt x="2030831" y="1221123"/>
                </a:cubicBezTo>
                <a:cubicBezTo>
                  <a:pt x="2063476" y="1219778"/>
                  <a:pt x="2096601" y="1219490"/>
                  <a:pt x="2120125" y="1190878"/>
                </a:cubicBezTo>
                <a:cubicBezTo>
                  <a:pt x="2122046" y="1188573"/>
                  <a:pt x="2126174" y="1187229"/>
                  <a:pt x="2129439" y="1186845"/>
                </a:cubicBezTo>
                <a:cubicBezTo>
                  <a:pt x="2144513" y="1185021"/>
                  <a:pt x="2159971" y="1184828"/>
                  <a:pt x="2174854" y="1181852"/>
                </a:cubicBezTo>
                <a:cubicBezTo>
                  <a:pt x="2186760" y="1179452"/>
                  <a:pt x="2196650" y="1180220"/>
                  <a:pt x="2205674" y="1188669"/>
                </a:cubicBezTo>
                <a:cubicBezTo>
                  <a:pt x="2217485" y="1199807"/>
                  <a:pt x="2231887" y="1206336"/>
                  <a:pt x="2247634" y="1202784"/>
                </a:cubicBezTo>
                <a:cubicBezTo>
                  <a:pt x="2263379" y="1199327"/>
                  <a:pt x="2273749" y="1206816"/>
                  <a:pt x="2285367" y="1214594"/>
                </a:cubicBezTo>
                <a:cubicBezTo>
                  <a:pt x="2293817" y="1220258"/>
                  <a:pt x="2303418" y="1227363"/>
                  <a:pt x="2312827" y="1227939"/>
                </a:cubicBezTo>
                <a:cubicBezTo>
                  <a:pt x="2334143" y="1229187"/>
                  <a:pt x="2352482" y="1248967"/>
                  <a:pt x="2375622" y="1237733"/>
                </a:cubicBezTo>
                <a:cubicBezTo>
                  <a:pt x="2377158" y="1236965"/>
                  <a:pt x="2379942" y="1238885"/>
                  <a:pt x="2382151" y="1239365"/>
                </a:cubicBezTo>
                <a:cubicBezTo>
                  <a:pt x="2399817" y="1243014"/>
                  <a:pt x="2416428" y="1239461"/>
                  <a:pt x="2429390" y="1227459"/>
                </a:cubicBezTo>
                <a:cubicBezTo>
                  <a:pt x="2446385" y="1211809"/>
                  <a:pt x="2465203" y="1210272"/>
                  <a:pt x="2486134" y="1215362"/>
                </a:cubicBezTo>
                <a:cubicBezTo>
                  <a:pt x="2492856" y="1216994"/>
                  <a:pt x="2499577" y="1218146"/>
                  <a:pt x="2506394" y="1219490"/>
                </a:cubicBezTo>
                <a:cubicBezTo>
                  <a:pt x="2515611" y="1221410"/>
                  <a:pt x="2524925" y="1223427"/>
                  <a:pt x="2534142" y="1225347"/>
                </a:cubicBezTo>
                <a:cubicBezTo>
                  <a:pt x="2543072" y="1227268"/>
                  <a:pt x="2552962" y="1230532"/>
                  <a:pt x="2559874" y="1222275"/>
                </a:cubicBezTo>
                <a:cubicBezTo>
                  <a:pt x="2565827" y="1215169"/>
                  <a:pt x="2570052" y="1215842"/>
                  <a:pt x="2575525" y="1221987"/>
                </a:cubicBezTo>
                <a:cubicBezTo>
                  <a:pt x="2594536" y="1243494"/>
                  <a:pt x="2617580" y="1256936"/>
                  <a:pt x="2646960" y="1257896"/>
                </a:cubicBezTo>
                <a:cubicBezTo>
                  <a:pt x="2653009" y="1258088"/>
                  <a:pt x="2659154" y="1259432"/>
                  <a:pt x="2665107" y="1260873"/>
                </a:cubicBezTo>
                <a:cubicBezTo>
                  <a:pt x="2668756" y="1261736"/>
                  <a:pt x="2673173" y="1262697"/>
                  <a:pt x="2675381" y="1265290"/>
                </a:cubicBezTo>
                <a:cubicBezTo>
                  <a:pt x="2692567" y="1285068"/>
                  <a:pt x="2713979" y="1298799"/>
                  <a:pt x="2737311" y="1309841"/>
                </a:cubicBezTo>
                <a:cubicBezTo>
                  <a:pt x="2745664" y="1313777"/>
                  <a:pt x="2754594" y="1317713"/>
                  <a:pt x="2763619" y="1318866"/>
                </a:cubicBezTo>
                <a:cubicBezTo>
                  <a:pt x="2773028" y="1320018"/>
                  <a:pt x="2782917" y="1318098"/>
                  <a:pt x="2792519" y="1317041"/>
                </a:cubicBezTo>
                <a:cubicBezTo>
                  <a:pt x="2798184" y="1316466"/>
                  <a:pt x="2804713" y="1316561"/>
                  <a:pt x="2809226" y="1313777"/>
                </a:cubicBezTo>
                <a:cubicBezTo>
                  <a:pt x="2823532" y="1305039"/>
                  <a:pt x="2837358" y="1295631"/>
                  <a:pt x="2850705" y="1285452"/>
                </a:cubicBezTo>
                <a:cubicBezTo>
                  <a:pt x="2862131" y="1276715"/>
                  <a:pt x="2864435" y="1275467"/>
                  <a:pt x="2874324" y="1286413"/>
                </a:cubicBezTo>
                <a:cubicBezTo>
                  <a:pt x="2884502" y="1297647"/>
                  <a:pt x="2897176" y="1303503"/>
                  <a:pt x="2911194" y="1305903"/>
                </a:cubicBezTo>
                <a:cubicBezTo>
                  <a:pt x="2933373" y="1309648"/>
                  <a:pt x="2955745" y="1312816"/>
                  <a:pt x="2978116" y="1314641"/>
                </a:cubicBezTo>
                <a:cubicBezTo>
                  <a:pt x="2998375" y="1316273"/>
                  <a:pt x="3008073" y="1307440"/>
                  <a:pt x="3012106" y="1287373"/>
                </a:cubicBezTo>
                <a:cubicBezTo>
                  <a:pt x="3014410" y="1276235"/>
                  <a:pt x="3017387" y="1264137"/>
                  <a:pt x="3029676" y="1261161"/>
                </a:cubicBezTo>
                <a:cubicBezTo>
                  <a:pt x="3049744" y="1256360"/>
                  <a:pt x="3070579" y="1254248"/>
                  <a:pt x="3080469" y="1230724"/>
                </a:cubicBezTo>
                <a:cubicBezTo>
                  <a:pt x="3085941" y="1235909"/>
                  <a:pt x="3089302" y="1238981"/>
                  <a:pt x="3092567" y="1242054"/>
                </a:cubicBezTo>
                <a:cubicBezTo>
                  <a:pt x="3101592" y="1250599"/>
                  <a:pt x="3120314" y="1254248"/>
                  <a:pt x="3129821" y="1246855"/>
                </a:cubicBezTo>
                <a:cubicBezTo>
                  <a:pt x="3143839" y="1236101"/>
                  <a:pt x="3156705" y="1238117"/>
                  <a:pt x="3170147" y="1246471"/>
                </a:cubicBezTo>
                <a:cubicBezTo>
                  <a:pt x="3192615" y="1260297"/>
                  <a:pt x="3217674" y="1257128"/>
                  <a:pt x="3240429" y="1251559"/>
                </a:cubicBezTo>
                <a:cubicBezTo>
                  <a:pt x="3257617" y="1247430"/>
                  <a:pt x="3275956" y="1239845"/>
                  <a:pt x="3287189" y="1222466"/>
                </a:cubicBezTo>
                <a:cubicBezTo>
                  <a:pt x="3290741" y="1216898"/>
                  <a:pt x="3298711" y="1214113"/>
                  <a:pt x="3305049" y="1210465"/>
                </a:cubicBezTo>
                <a:cubicBezTo>
                  <a:pt x="3310329" y="1207488"/>
                  <a:pt x="3315898" y="1204704"/>
                  <a:pt x="3321755" y="1202784"/>
                </a:cubicBezTo>
                <a:cubicBezTo>
                  <a:pt x="3327995" y="1200671"/>
                  <a:pt x="3334909" y="1197598"/>
                  <a:pt x="3341055" y="1198463"/>
                </a:cubicBezTo>
                <a:cubicBezTo>
                  <a:pt x="3359681" y="1200959"/>
                  <a:pt x="3374467" y="1196062"/>
                  <a:pt x="3387621" y="1182140"/>
                </a:cubicBezTo>
                <a:cubicBezTo>
                  <a:pt x="3394439" y="1174939"/>
                  <a:pt x="3404520" y="1166202"/>
                  <a:pt x="3413161" y="1166105"/>
                </a:cubicBezTo>
                <a:cubicBezTo>
                  <a:pt x="3434189" y="1165818"/>
                  <a:pt x="3451663" y="1158905"/>
                  <a:pt x="3470579" y="1150647"/>
                </a:cubicBezTo>
                <a:cubicBezTo>
                  <a:pt x="3482772" y="1145366"/>
                  <a:pt x="3496598" y="1141718"/>
                  <a:pt x="3509657" y="1136821"/>
                </a:cubicBezTo>
                <a:cubicBezTo>
                  <a:pt x="3524923" y="1131060"/>
                  <a:pt x="3541534" y="1128948"/>
                  <a:pt x="3550847" y="1113009"/>
                </a:cubicBezTo>
                <a:cubicBezTo>
                  <a:pt x="3551903" y="1111281"/>
                  <a:pt x="3555072" y="1110993"/>
                  <a:pt x="3556608" y="1109361"/>
                </a:cubicBezTo>
                <a:cubicBezTo>
                  <a:pt x="3561505" y="1104368"/>
                  <a:pt x="3567842" y="1099760"/>
                  <a:pt x="3570435" y="1093710"/>
                </a:cubicBezTo>
                <a:cubicBezTo>
                  <a:pt x="3577923" y="1076044"/>
                  <a:pt x="3583780" y="1057800"/>
                  <a:pt x="3590501" y="1039846"/>
                </a:cubicBezTo>
                <a:cubicBezTo>
                  <a:pt x="3591942" y="1036005"/>
                  <a:pt x="3593285" y="1031108"/>
                  <a:pt x="3596263" y="1028900"/>
                </a:cubicBezTo>
                <a:cubicBezTo>
                  <a:pt x="3613449" y="1016226"/>
                  <a:pt x="3630925" y="1004032"/>
                  <a:pt x="3648591" y="992030"/>
                </a:cubicBezTo>
                <a:cubicBezTo>
                  <a:pt x="3655696" y="987229"/>
                  <a:pt x="3661649" y="989918"/>
                  <a:pt x="3667986" y="995487"/>
                </a:cubicBezTo>
                <a:cubicBezTo>
                  <a:pt x="3674131" y="1000768"/>
                  <a:pt x="3681717" y="1006240"/>
                  <a:pt x="3689397" y="1007585"/>
                </a:cubicBezTo>
                <a:cubicBezTo>
                  <a:pt x="3704760" y="1010177"/>
                  <a:pt x="3720698" y="1010753"/>
                  <a:pt x="3736349" y="1010753"/>
                </a:cubicBezTo>
                <a:cubicBezTo>
                  <a:pt x="3742205" y="1010753"/>
                  <a:pt x="3748446" y="1007297"/>
                  <a:pt x="3753919" y="1004513"/>
                </a:cubicBezTo>
                <a:cubicBezTo>
                  <a:pt x="3764289" y="999231"/>
                  <a:pt x="3773890" y="992126"/>
                  <a:pt x="3784643" y="987710"/>
                </a:cubicBezTo>
                <a:cubicBezTo>
                  <a:pt x="3797126" y="982621"/>
                  <a:pt x="3804615" y="974459"/>
                  <a:pt x="3808359" y="961689"/>
                </a:cubicBezTo>
                <a:cubicBezTo>
                  <a:pt x="3813929" y="942679"/>
                  <a:pt x="3827179" y="929428"/>
                  <a:pt x="3842829" y="918674"/>
                </a:cubicBezTo>
                <a:cubicBezTo>
                  <a:pt x="3862705" y="904944"/>
                  <a:pt x="3886421" y="905616"/>
                  <a:pt x="3908983" y="902256"/>
                </a:cubicBezTo>
                <a:cubicBezTo>
                  <a:pt x="3917625" y="901008"/>
                  <a:pt x="3926555" y="899951"/>
                  <a:pt x="3934428" y="896783"/>
                </a:cubicBezTo>
                <a:cubicBezTo>
                  <a:pt x="3964288" y="884877"/>
                  <a:pt x="3994149" y="873548"/>
                  <a:pt x="4026987" y="873835"/>
                </a:cubicBezTo>
                <a:cubicBezTo>
                  <a:pt x="4029674" y="873835"/>
                  <a:pt x="4032363" y="873548"/>
                  <a:pt x="4035051" y="873067"/>
                </a:cubicBezTo>
                <a:cubicBezTo>
                  <a:pt x="4058383" y="869131"/>
                  <a:pt x="4082483" y="867594"/>
                  <a:pt x="4099189" y="846664"/>
                </a:cubicBezTo>
                <a:cubicBezTo>
                  <a:pt x="4102261" y="842823"/>
                  <a:pt x="4109271" y="841671"/>
                  <a:pt x="4114647" y="840134"/>
                </a:cubicBezTo>
                <a:cubicBezTo>
                  <a:pt x="4123961" y="837638"/>
                  <a:pt x="4130203" y="832549"/>
                  <a:pt x="4133563" y="823427"/>
                </a:cubicBezTo>
                <a:cubicBezTo>
                  <a:pt x="4139229" y="807681"/>
                  <a:pt x="4145949" y="792223"/>
                  <a:pt x="4151039" y="776284"/>
                </a:cubicBezTo>
                <a:cubicBezTo>
                  <a:pt x="4154591" y="765338"/>
                  <a:pt x="4161215" y="759289"/>
                  <a:pt x="4171489" y="754776"/>
                </a:cubicBezTo>
                <a:cubicBezTo>
                  <a:pt x="4177251" y="752280"/>
                  <a:pt x="4182243" y="746808"/>
                  <a:pt x="4186372" y="741718"/>
                </a:cubicBezTo>
                <a:cubicBezTo>
                  <a:pt x="4191365" y="735573"/>
                  <a:pt x="4193957" y="727412"/>
                  <a:pt x="4199429" y="721940"/>
                </a:cubicBezTo>
                <a:cubicBezTo>
                  <a:pt x="4212775" y="708305"/>
                  <a:pt x="4216905" y="693231"/>
                  <a:pt x="4212487" y="674604"/>
                </a:cubicBezTo>
                <a:cubicBezTo>
                  <a:pt x="4208551" y="658090"/>
                  <a:pt x="4218921" y="636006"/>
                  <a:pt x="4232555" y="632645"/>
                </a:cubicBezTo>
                <a:cubicBezTo>
                  <a:pt x="4247629" y="628900"/>
                  <a:pt x="4257999" y="619684"/>
                  <a:pt x="4268657" y="609410"/>
                </a:cubicBezTo>
                <a:cubicBezTo>
                  <a:pt x="4274609" y="603649"/>
                  <a:pt x="4282963" y="598656"/>
                  <a:pt x="4291028" y="597216"/>
                </a:cubicBezTo>
                <a:cubicBezTo>
                  <a:pt x="4321657" y="591647"/>
                  <a:pt x="4350557" y="598464"/>
                  <a:pt x="4379651" y="609506"/>
                </a:cubicBezTo>
                <a:cubicBezTo>
                  <a:pt x="4398661" y="616707"/>
                  <a:pt x="4419784" y="618627"/>
                  <a:pt x="4440139" y="621507"/>
                </a:cubicBezTo>
                <a:cubicBezTo>
                  <a:pt x="4446477" y="622371"/>
                  <a:pt x="4454542" y="620452"/>
                  <a:pt x="4460015" y="616899"/>
                </a:cubicBezTo>
                <a:cubicBezTo>
                  <a:pt x="4479218" y="604609"/>
                  <a:pt x="4498325" y="591935"/>
                  <a:pt x="4516183" y="577724"/>
                </a:cubicBezTo>
                <a:cubicBezTo>
                  <a:pt x="4532795" y="564379"/>
                  <a:pt x="4551517" y="558810"/>
                  <a:pt x="4571681" y="560250"/>
                </a:cubicBezTo>
                <a:cubicBezTo>
                  <a:pt x="4586371" y="561306"/>
                  <a:pt x="4599621" y="558905"/>
                  <a:pt x="4613447" y="555257"/>
                </a:cubicBezTo>
                <a:cubicBezTo>
                  <a:pt x="4624969" y="552185"/>
                  <a:pt x="4637643" y="550072"/>
                  <a:pt x="4649355" y="551417"/>
                </a:cubicBezTo>
                <a:cubicBezTo>
                  <a:pt x="4665775" y="553337"/>
                  <a:pt x="4679313" y="550553"/>
                  <a:pt x="4692467" y="540663"/>
                </a:cubicBezTo>
                <a:cubicBezTo>
                  <a:pt x="4699476" y="535382"/>
                  <a:pt x="4708502" y="532598"/>
                  <a:pt x="4716855" y="528949"/>
                </a:cubicBezTo>
                <a:cubicBezTo>
                  <a:pt x="4729721" y="523284"/>
                  <a:pt x="4743067" y="518483"/>
                  <a:pt x="4755645" y="512147"/>
                </a:cubicBezTo>
                <a:cubicBezTo>
                  <a:pt x="4769183" y="505425"/>
                  <a:pt x="4781569" y="496112"/>
                  <a:pt x="4795395" y="490351"/>
                </a:cubicBezTo>
                <a:cubicBezTo>
                  <a:pt x="4810278" y="484110"/>
                  <a:pt x="4819879" y="474605"/>
                  <a:pt x="4825928" y="459818"/>
                </a:cubicBezTo>
                <a:cubicBezTo>
                  <a:pt x="4829769" y="450504"/>
                  <a:pt x="4835049" y="440615"/>
                  <a:pt x="4842347" y="434086"/>
                </a:cubicBezTo>
                <a:cubicBezTo>
                  <a:pt x="4857422" y="420740"/>
                  <a:pt x="4875087" y="410370"/>
                  <a:pt x="4890451" y="397216"/>
                </a:cubicBezTo>
                <a:cubicBezTo>
                  <a:pt x="4912054" y="378781"/>
                  <a:pt x="4932025" y="359194"/>
                  <a:pt x="4933945" y="327701"/>
                </a:cubicBezTo>
                <a:cubicBezTo>
                  <a:pt x="4935001" y="310322"/>
                  <a:pt x="4944219" y="302929"/>
                  <a:pt x="4961214" y="298801"/>
                </a:cubicBezTo>
                <a:cubicBezTo>
                  <a:pt x="4966878" y="297457"/>
                  <a:pt x="4974945" y="294864"/>
                  <a:pt x="4976672" y="290639"/>
                </a:cubicBezTo>
                <a:cubicBezTo>
                  <a:pt x="4981857" y="278061"/>
                  <a:pt x="4992610" y="275565"/>
                  <a:pt x="5002979" y="270573"/>
                </a:cubicBezTo>
                <a:cubicBezTo>
                  <a:pt x="5009221" y="267596"/>
                  <a:pt x="5016903" y="261739"/>
                  <a:pt x="5018535" y="255690"/>
                </a:cubicBezTo>
                <a:cubicBezTo>
                  <a:pt x="5025255" y="231206"/>
                  <a:pt x="5043690" y="216804"/>
                  <a:pt x="5061069" y="200961"/>
                </a:cubicBezTo>
                <a:cubicBezTo>
                  <a:pt x="5066158" y="196256"/>
                  <a:pt x="5071631" y="190879"/>
                  <a:pt x="5074127" y="184735"/>
                </a:cubicBezTo>
                <a:cubicBezTo>
                  <a:pt x="5079409" y="171484"/>
                  <a:pt x="5087281" y="161882"/>
                  <a:pt x="5101108" y="156891"/>
                </a:cubicBezTo>
                <a:cubicBezTo>
                  <a:pt x="5105524" y="155354"/>
                  <a:pt x="5109557" y="151801"/>
                  <a:pt x="5112918" y="148441"/>
                </a:cubicBezTo>
                <a:cubicBezTo>
                  <a:pt x="5120119" y="141144"/>
                  <a:pt x="5126167" y="132598"/>
                  <a:pt x="5133753" y="125782"/>
                </a:cubicBezTo>
                <a:cubicBezTo>
                  <a:pt x="5153051" y="108211"/>
                  <a:pt x="5172159" y="90928"/>
                  <a:pt x="5183393" y="66348"/>
                </a:cubicBezTo>
                <a:cubicBezTo>
                  <a:pt x="5188865" y="54346"/>
                  <a:pt x="5195107" y="41288"/>
                  <a:pt x="5204709" y="33030"/>
                </a:cubicBezTo>
                <a:cubicBezTo>
                  <a:pt x="5216903" y="22565"/>
                  <a:pt x="5232937" y="16612"/>
                  <a:pt x="5247243" y="8451"/>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4403" name="Freeform: Shape 144402">
            <a:extLst>
              <a:ext uri="{FF2B5EF4-FFF2-40B4-BE49-F238E27FC236}">
                <a16:creationId xmlns:a16="http://schemas.microsoft.com/office/drawing/2014/main" id="{35A51D22-76EA-4C70-B5C9-ED3946924C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27088" y="4258080"/>
            <a:ext cx="4403345" cy="1180695"/>
          </a:xfrm>
          <a:custGeom>
            <a:avLst/>
            <a:gdLst>
              <a:gd name="connsiteX0" fmla="*/ 5260975 w 5260975"/>
              <a:gd name="connsiteY0" fmla="*/ 0 h 1410656"/>
              <a:gd name="connsiteX1" fmla="*/ 5260975 w 5260975"/>
              <a:gd name="connsiteY1" fmla="*/ 221634 h 1410656"/>
              <a:gd name="connsiteX2" fmla="*/ 5226503 w 5260975"/>
              <a:gd name="connsiteY2" fmla="*/ 237063 h 1410656"/>
              <a:gd name="connsiteX3" fmla="*/ 5206341 w 5260975"/>
              <a:gd name="connsiteY3" fmla="*/ 245128 h 1410656"/>
              <a:gd name="connsiteX4" fmla="*/ 5123287 w 5260975"/>
              <a:gd name="connsiteY4" fmla="*/ 297073 h 1410656"/>
              <a:gd name="connsiteX5" fmla="*/ 5048107 w 5260975"/>
              <a:gd name="connsiteY5" fmla="*/ 361307 h 1410656"/>
              <a:gd name="connsiteX6" fmla="*/ 4992899 w 5260975"/>
              <a:gd name="connsiteY6" fmla="*/ 437542 h 1410656"/>
              <a:gd name="connsiteX7" fmla="*/ 4977440 w 5260975"/>
              <a:gd name="connsiteY7" fmla="*/ 455690 h 1410656"/>
              <a:gd name="connsiteX8" fmla="*/ 4935193 w 5260975"/>
              <a:gd name="connsiteY8" fmla="*/ 478445 h 1410656"/>
              <a:gd name="connsiteX9" fmla="*/ 4897844 w 5260975"/>
              <a:gd name="connsiteY9" fmla="*/ 495535 h 1410656"/>
              <a:gd name="connsiteX10" fmla="*/ 4870767 w 5260975"/>
              <a:gd name="connsiteY10" fmla="*/ 514451 h 1410656"/>
              <a:gd name="connsiteX11" fmla="*/ 4847916 w 5260975"/>
              <a:gd name="connsiteY11" fmla="*/ 531830 h 1410656"/>
              <a:gd name="connsiteX12" fmla="*/ 4796163 w 5260975"/>
              <a:gd name="connsiteY12" fmla="*/ 576765 h 1410656"/>
              <a:gd name="connsiteX13" fmla="*/ 4738843 w 5260975"/>
              <a:gd name="connsiteY13" fmla="*/ 614691 h 1410656"/>
              <a:gd name="connsiteX14" fmla="*/ 4692755 w 5260975"/>
              <a:gd name="connsiteY14" fmla="*/ 661162 h 1410656"/>
              <a:gd name="connsiteX15" fmla="*/ 4673744 w 5260975"/>
              <a:gd name="connsiteY15" fmla="*/ 686318 h 1410656"/>
              <a:gd name="connsiteX16" fmla="*/ 4633801 w 5260975"/>
              <a:gd name="connsiteY16" fmla="*/ 703505 h 1410656"/>
              <a:gd name="connsiteX17" fmla="*/ 4590499 w 5260975"/>
              <a:gd name="connsiteY17" fmla="*/ 730389 h 1410656"/>
              <a:gd name="connsiteX18" fmla="*/ 4559773 w 5260975"/>
              <a:gd name="connsiteY18" fmla="*/ 757081 h 1410656"/>
              <a:gd name="connsiteX19" fmla="*/ 4536059 w 5260975"/>
              <a:gd name="connsiteY19" fmla="*/ 774940 h 1410656"/>
              <a:gd name="connsiteX20" fmla="*/ 4502549 w 5260975"/>
              <a:gd name="connsiteY20" fmla="*/ 792895 h 1410656"/>
              <a:gd name="connsiteX21" fmla="*/ 4468944 w 5260975"/>
              <a:gd name="connsiteY21" fmla="*/ 816419 h 1410656"/>
              <a:gd name="connsiteX22" fmla="*/ 4452622 w 5260975"/>
              <a:gd name="connsiteY22" fmla="*/ 830917 h 1410656"/>
              <a:gd name="connsiteX23" fmla="*/ 4421032 w 5260975"/>
              <a:gd name="connsiteY23" fmla="*/ 855016 h 1410656"/>
              <a:gd name="connsiteX24" fmla="*/ 4388483 w 5260975"/>
              <a:gd name="connsiteY24" fmla="*/ 877484 h 1410656"/>
              <a:gd name="connsiteX25" fmla="*/ 4327321 w 5260975"/>
              <a:gd name="connsiteY25" fmla="*/ 903216 h 1410656"/>
              <a:gd name="connsiteX26" fmla="*/ 4271633 w 5260975"/>
              <a:gd name="connsiteY26" fmla="*/ 941046 h 1410656"/>
              <a:gd name="connsiteX27" fmla="*/ 4227465 w 5260975"/>
              <a:gd name="connsiteY27" fmla="*/ 968698 h 1410656"/>
              <a:gd name="connsiteX28" fmla="*/ 4201733 w 5260975"/>
              <a:gd name="connsiteY28" fmla="*/ 986846 h 1410656"/>
              <a:gd name="connsiteX29" fmla="*/ 4154494 w 5260975"/>
              <a:gd name="connsiteY29" fmla="*/ 1027364 h 1410656"/>
              <a:gd name="connsiteX30" fmla="*/ 4081234 w 5260975"/>
              <a:gd name="connsiteY30" fmla="*/ 1069994 h 1410656"/>
              <a:gd name="connsiteX31" fmla="*/ 4036971 w 5260975"/>
              <a:gd name="connsiteY31" fmla="*/ 1093038 h 1410656"/>
              <a:gd name="connsiteX32" fmla="*/ 3941725 w 5260975"/>
              <a:gd name="connsiteY32" fmla="*/ 1127796 h 1410656"/>
              <a:gd name="connsiteX33" fmla="*/ 3910999 w 5260975"/>
              <a:gd name="connsiteY33" fmla="*/ 1140182 h 1410656"/>
              <a:gd name="connsiteX34" fmla="*/ 3875859 w 5260975"/>
              <a:gd name="connsiteY34" fmla="*/ 1148343 h 1410656"/>
              <a:gd name="connsiteX35" fmla="*/ 3819401 w 5260975"/>
              <a:gd name="connsiteY35" fmla="*/ 1167642 h 1410656"/>
              <a:gd name="connsiteX36" fmla="*/ 3709176 w 5260975"/>
              <a:gd name="connsiteY36" fmla="*/ 1200863 h 1410656"/>
              <a:gd name="connsiteX37" fmla="*/ 3684981 w 5260975"/>
              <a:gd name="connsiteY37" fmla="*/ 1205952 h 1410656"/>
              <a:gd name="connsiteX38" fmla="*/ 3623338 w 5260975"/>
              <a:gd name="connsiteY38" fmla="*/ 1227363 h 1410656"/>
              <a:gd name="connsiteX39" fmla="*/ 3586373 w 5260975"/>
              <a:gd name="connsiteY39" fmla="*/ 1241765 h 1410656"/>
              <a:gd name="connsiteX40" fmla="*/ 3555743 w 5260975"/>
              <a:gd name="connsiteY40" fmla="*/ 1250023 h 1410656"/>
              <a:gd name="connsiteX41" fmla="*/ 3528667 w 5260975"/>
              <a:gd name="connsiteY41" fmla="*/ 1253864 h 1410656"/>
              <a:gd name="connsiteX42" fmla="*/ 3457424 w 5260975"/>
              <a:gd name="connsiteY42" fmla="*/ 1272874 h 1410656"/>
              <a:gd name="connsiteX43" fmla="*/ 3429003 w 5260975"/>
              <a:gd name="connsiteY43" fmla="*/ 1280364 h 1410656"/>
              <a:gd name="connsiteX44" fmla="*/ 3355264 w 5260975"/>
              <a:gd name="connsiteY44" fmla="*/ 1306096 h 1410656"/>
              <a:gd name="connsiteX45" fmla="*/ 3292757 w 5260975"/>
              <a:gd name="connsiteY45" fmla="*/ 1323090 h 1410656"/>
              <a:gd name="connsiteX46" fmla="*/ 3266643 w 5260975"/>
              <a:gd name="connsiteY46" fmla="*/ 1331251 h 1410656"/>
              <a:gd name="connsiteX47" fmla="*/ 3206921 w 5260975"/>
              <a:gd name="connsiteY47" fmla="*/ 1344886 h 1410656"/>
              <a:gd name="connsiteX48" fmla="*/ 3173123 w 5260975"/>
              <a:gd name="connsiteY48" fmla="*/ 1354488 h 1410656"/>
              <a:gd name="connsiteX49" fmla="*/ 3090646 w 5260975"/>
              <a:gd name="connsiteY49" fmla="*/ 1365337 h 1410656"/>
              <a:gd name="connsiteX50" fmla="*/ 3005480 w 5260975"/>
              <a:gd name="connsiteY50" fmla="*/ 1375802 h 1410656"/>
              <a:gd name="connsiteX51" fmla="*/ 2958721 w 5260975"/>
              <a:gd name="connsiteY51" fmla="*/ 1379259 h 1410656"/>
              <a:gd name="connsiteX52" fmla="*/ 2917915 w 5260975"/>
              <a:gd name="connsiteY52" fmla="*/ 1384733 h 1410656"/>
              <a:gd name="connsiteX53" fmla="*/ 2882389 w 5260975"/>
              <a:gd name="connsiteY53" fmla="*/ 1388189 h 1410656"/>
              <a:gd name="connsiteX54" fmla="*/ 2825837 w 5260975"/>
              <a:gd name="connsiteY54" fmla="*/ 1395198 h 1410656"/>
              <a:gd name="connsiteX55" fmla="*/ 2802313 w 5260975"/>
              <a:gd name="connsiteY55" fmla="*/ 1397023 h 1410656"/>
              <a:gd name="connsiteX56" fmla="*/ 2746816 w 5260975"/>
              <a:gd name="connsiteY56" fmla="*/ 1396926 h 1410656"/>
              <a:gd name="connsiteX57" fmla="*/ 2727517 w 5260975"/>
              <a:gd name="connsiteY57" fmla="*/ 1395966 h 1410656"/>
              <a:gd name="connsiteX58" fmla="*/ 2690359 w 5260975"/>
              <a:gd name="connsiteY58" fmla="*/ 1384060 h 1410656"/>
              <a:gd name="connsiteX59" fmla="*/ 2685943 w 5260975"/>
              <a:gd name="connsiteY59" fmla="*/ 1383196 h 1410656"/>
              <a:gd name="connsiteX60" fmla="*/ 2661554 w 5260975"/>
              <a:gd name="connsiteY60" fmla="*/ 1378491 h 1410656"/>
              <a:gd name="connsiteX61" fmla="*/ 2648208 w 5260975"/>
              <a:gd name="connsiteY61" fmla="*/ 1376955 h 1410656"/>
              <a:gd name="connsiteX62" fmla="*/ 2597512 w 5260975"/>
              <a:gd name="connsiteY62" fmla="*/ 1367162 h 1410656"/>
              <a:gd name="connsiteX63" fmla="*/ 2568324 w 5260975"/>
              <a:gd name="connsiteY63" fmla="*/ 1362553 h 1410656"/>
              <a:gd name="connsiteX64" fmla="*/ 2544704 w 5260975"/>
              <a:gd name="connsiteY64" fmla="*/ 1363225 h 1410656"/>
              <a:gd name="connsiteX65" fmla="*/ 2503225 w 5260975"/>
              <a:gd name="connsiteY65" fmla="*/ 1364089 h 1410656"/>
              <a:gd name="connsiteX66" fmla="*/ 2489975 w 5260975"/>
              <a:gd name="connsiteY66" fmla="*/ 1366298 h 1410656"/>
              <a:gd name="connsiteX67" fmla="*/ 2430061 w 5260975"/>
              <a:gd name="connsiteY67" fmla="*/ 1359960 h 1410656"/>
              <a:gd name="connsiteX68" fmla="*/ 2395880 w 5260975"/>
              <a:gd name="connsiteY68" fmla="*/ 1359480 h 1410656"/>
              <a:gd name="connsiteX69" fmla="*/ 2357378 w 5260975"/>
              <a:gd name="connsiteY69" fmla="*/ 1351607 h 1410656"/>
              <a:gd name="connsiteX70" fmla="*/ 2346145 w 5260975"/>
              <a:gd name="connsiteY70" fmla="*/ 1351991 h 1410656"/>
              <a:gd name="connsiteX71" fmla="*/ 2333567 w 5260975"/>
              <a:gd name="connsiteY71" fmla="*/ 1352663 h 1410656"/>
              <a:gd name="connsiteX72" fmla="*/ 2294968 w 5260975"/>
              <a:gd name="connsiteY72" fmla="*/ 1353240 h 1410656"/>
              <a:gd name="connsiteX73" fmla="*/ 2271540 w 5260975"/>
              <a:gd name="connsiteY73" fmla="*/ 1356120 h 1410656"/>
              <a:gd name="connsiteX74" fmla="*/ 2226895 w 5260975"/>
              <a:gd name="connsiteY74" fmla="*/ 1354392 h 1410656"/>
              <a:gd name="connsiteX75" fmla="*/ 2210379 w 5260975"/>
              <a:gd name="connsiteY75" fmla="*/ 1356888 h 1410656"/>
              <a:gd name="connsiteX76" fmla="*/ 2168613 w 5260975"/>
              <a:gd name="connsiteY76" fmla="*/ 1357176 h 1410656"/>
              <a:gd name="connsiteX77" fmla="*/ 2131167 w 5260975"/>
              <a:gd name="connsiteY77" fmla="*/ 1355736 h 1410656"/>
              <a:gd name="connsiteX78" fmla="*/ 2095065 w 5260975"/>
              <a:gd name="connsiteY78" fmla="*/ 1356504 h 1410656"/>
              <a:gd name="connsiteX79" fmla="*/ 2069237 w 5260975"/>
              <a:gd name="connsiteY79" fmla="*/ 1359672 h 1410656"/>
              <a:gd name="connsiteX80" fmla="*/ 2041201 w 5260975"/>
              <a:gd name="connsiteY80" fmla="*/ 1361592 h 1410656"/>
              <a:gd name="connsiteX81" fmla="*/ 1963909 w 5260975"/>
              <a:gd name="connsiteY81" fmla="*/ 1373018 h 1410656"/>
              <a:gd name="connsiteX82" fmla="*/ 1949603 w 5260975"/>
              <a:gd name="connsiteY82" fmla="*/ 1370234 h 1410656"/>
              <a:gd name="connsiteX83" fmla="*/ 1868373 w 5260975"/>
              <a:gd name="connsiteY83" fmla="*/ 1367641 h 1410656"/>
              <a:gd name="connsiteX84" fmla="*/ 1850707 w 5260975"/>
              <a:gd name="connsiteY84" fmla="*/ 1367834 h 1410656"/>
              <a:gd name="connsiteX85" fmla="*/ 1803275 w 5260975"/>
              <a:gd name="connsiteY85" fmla="*/ 1356504 h 1410656"/>
              <a:gd name="connsiteX86" fmla="*/ 1730112 w 5260975"/>
              <a:gd name="connsiteY86" fmla="*/ 1374459 h 1410656"/>
              <a:gd name="connsiteX87" fmla="*/ 1661652 w 5260975"/>
              <a:gd name="connsiteY87" fmla="*/ 1396926 h 1410656"/>
              <a:gd name="connsiteX88" fmla="*/ 1653011 w 5260975"/>
              <a:gd name="connsiteY88" fmla="*/ 1399807 h 1410656"/>
              <a:gd name="connsiteX89" fmla="*/ 1628431 w 5260975"/>
              <a:gd name="connsiteY89" fmla="*/ 1404704 h 1410656"/>
              <a:gd name="connsiteX90" fmla="*/ 1597995 w 5260975"/>
              <a:gd name="connsiteY90" fmla="*/ 1406432 h 1410656"/>
              <a:gd name="connsiteX91" fmla="*/ 1559396 w 5260975"/>
              <a:gd name="connsiteY91" fmla="*/ 1410656 h 1410656"/>
              <a:gd name="connsiteX92" fmla="*/ 1528480 w 5260975"/>
              <a:gd name="connsiteY92" fmla="*/ 1405375 h 1410656"/>
              <a:gd name="connsiteX93" fmla="*/ 1485272 w 5260975"/>
              <a:gd name="connsiteY93" fmla="*/ 1397502 h 1410656"/>
              <a:gd name="connsiteX94" fmla="*/ 1444562 w 5260975"/>
              <a:gd name="connsiteY94" fmla="*/ 1390013 h 1410656"/>
              <a:gd name="connsiteX95" fmla="*/ 1431696 w 5260975"/>
              <a:gd name="connsiteY95" fmla="*/ 1398846 h 1410656"/>
              <a:gd name="connsiteX96" fmla="*/ 1411821 w 5260975"/>
              <a:gd name="connsiteY96" fmla="*/ 1406527 h 1410656"/>
              <a:gd name="connsiteX97" fmla="*/ 1389738 w 5260975"/>
              <a:gd name="connsiteY97" fmla="*/ 1397310 h 1410656"/>
              <a:gd name="connsiteX98" fmla="*/ 1338081 w 5260975"/>
              <a:gd name="connsiteY98" fmla="*/ 1378204 h 1410656"/>
              <a:gd name="connsiteX99" fmla="*/ 1305436 w 5260975"/>
              <a:gd name="connsiteY99" fmla="*/ 1377339 h 1410656"/>
              <a:gd name="connsiteX100" fmla="*/ 1234481 w 5260975"/>
              <a:gd name="connsiteY100" fmla="*/ 1369178 h 1410656"/>
              <a:gd name="connsiteX101" fmla="*/ 1188106 w 5260975"/>
              <a:gd name="connsiteY101" fmla="*/ 1357560 h 1410656"/>
              <a:gd name="connsiteX102" fmla="*/ 1154790 w 5260975"/>
              <a:gd name="connsiteY102" fmla="*/ 1344406 h 1410656"/>
              <a:gd name="connsiteX103" fmla="*/ 1107069 w 5260975"/>
              <a:gd name="connsiteY103" fmla="*/ 1327219 h 1410656"/>
              <a:gd name="connsiteX104" fmla="*/ 1059158 w 5260975"/>
              <a:gd name="connsiteY104" fmla="*/ 1318290 h 1410656"/>
              <a:gd name="connsiteX105" fmla="*/ 1024496 w 5260975"/>
              <a:gd name="connsiteY105" fmla="*/ 1307056 h 1410656"/>
              <a:gd name="connsiteX106" fmla="*/ 982153 w 5260975"/>
              <a:gd name="connsiteY106" fmla="*/ 1299374 h 1410656"/>
              <a:gd name="connsiteX107" fmla="*/ 946628 w 5260975"/>
              <a:gd name="connsiteY107" fmla="*/ 1299087 h 1410656"/>
              <a:gd name="connsiteX108" fmla="*/ 890939 w 5260975"/>
              <a:gd name="connsiteY108" fmla="*/ 1300431 h 1410656"/>
              <a:gd name="connsiteX109" fmla="*/ 822769 w 5260975"/>
              <a:gd name="connsiteY109" fmla="*/ 1277196 h 1410656"/>
              <a:gd name="connsiteX110" fmla="*/ 795212 w 5260975"/>
              <a:gd name="connsiteY110" fmla="*/ 1272010 h 1410656"/>
              <a:gd name="connsiteX111" fmla="*/ 769288 w 5260975"/>
              <a:gd name="connsiteY111" fmla="*/ 1269610 h 1410656"/>
              <a:gd name="connsiteX112" fmla="*/ 714271 w 5260975"/>
              <a:gd name="connsiteY112" fmla="*/ 1254152 h 1410656"/>
              <a:gd name="connsiteX113" fmla="*/ 691900 w 5260975"/>
              <a:gd name="connsiteY113" fmla="*/ 1249062 h 1410656"/>
              <a:gd name="connsiteX114" fmla="*/ 660598 w 5260975"/>
              <a:gd name="connsiteY114" fmla="*/ 1249159 h 1410656"/>
              <a:gd name="connsiteX115" fmla="*/ 603662 w 5260975"/>
              <a:gd name="connsiteY115" fmla="*/ 1242054 h 1410656"/>
              <a:gd name="connsiteX116" fmla="*/ 546821 w 5260975"/>
              <a:gd name="connsiteY116" fmla="*/ 1221314 h 1410656"/>
              <a:gd name="connsiteX117" fmla="*/ 522721 w 5260975"/>
              <a:gd name="connsiteY117" fmla="*/ 1223330 h 1410656"/>
              <a:gd name="connsiteX118" fmla="*/ 514080 w 5260975"/>
              <a:gd name="connsiteY118" fmla="*/ 1222851 h 1410656"/>
              <a:gd name="connsiteX119" fmla="*/ 436404 w 5260975"/>
              <a:gd name="connsiteY119" fmla="*/ 1211424 h 1410656"/>
              <a:gd name="connsiteX120" fmla="*/ 428626 w 5260975"/>
              <a:gd name="connsiteY120" fmla="*/ 1210177 h 1410656"/>
              <a:gd name="connsiteX121" fmla="*/ 392141 w 5260975"/>
              <a:gd name="connsiteY121" fmla="*/ 1199999 h 1410656"/>
              <a:gd name="connsiteX122" fmla="*/ 300157 w 5260975"/>
              <a:gd name="connsiteY122" fmla="*/ 1193662 h 1410656"/>
              <a:gd name="connsiteX123" fmla="*/ 294493 w 5260975"/>
              <a:gd name="connsiteY123" fmla="*/ 1192894 h 1410656"/>
              <a:gd name="connsiteX124" fmla="*/ 263671 w 5260975"/>
              <a:gd name="connsiteY124" fmla="*/ 1197982 h 1410656"/>
              <a:gd name="connsiteX125" fmla="*/ 248406 w 5260975"/>
              <a:gd name="connsiteY125" fmla="*/ 1205184 h 1410656"/>
              <a:gd name="connsiteX126" fmla="*/ 224594 w 5260975"/>
              <a:gd name="connsiteY126" fmla="*/ 1212673 h 1410656"/>
              <a:gd name="connsiteX127" fmla="*/ 200398 w 5260975"/>
              <a:gd name="connsiteY127" fmla="*/ 1215458 h 1410656"/>
              <a:gd name="connsiteX128" fmla="*/ 159783 w 5260975"/>
              <a:gd name="connsiteY128" fmla="*/ 1204127 h 1410656"/>
              <a:gd name="connsiteX129" fmla="*/ 144997 w 5260975"/>
              <a:gd name="connsiteY129" fmla="*/ 1202975 h 1410656"/>
              <a:gd name="connsiteX130" fmla="*/ 112064 w 5260975"/>
              <a:gd name="connsiteY130" fmla="*/ 1197503 h 1410656"/>
              <a:gd name="connsiteX131" fmla="*/ 83259 w 5260975"/>
              <a:gd name="connsiteY131" fmla="*/ 1197887 h 1410656"/>
              <a:gd name="connsiteX132" fmla="*/ 60120 w 5260975"/>
              <a:gd name="connsiteY132" fmla="*/ 1206624 h 1410656"/>
              <a:gd name="connsiteX133" fmla="*/ 26514 w 5260975"/>
              <a:gd name="connsiteY133" fmla="*/ 1208352 h 1410656"/>
              <a:gd name="connsiteX134" fmla="*/ 4814 w 5260975"/>
              <a:gd name="connsiteY134" fmla="*/ 1202015 h 1410656"/>
              <a:gd name="connsiteX135" fmla="*/ 398 w 5260975"/>
              <a:gd name="connsiteY135" fmla="*/ 1201152 h 1410656"/>
              <a:gd name="connsiteX136" fmla="*/ 0 w 5260975"/>
              <a:gd name="connsiteY136" fmla="*/ 1201150 h 1410656"/>
              <a:gd name="connsiteX137" fmla="*/ 0 w 5260975"/>
              <a:gd name="connsiteY137" fmla="*/ 1004512 h 1410656"/>
              <a:gd name="connsiteX138" fmla="*/ 30355 w 5260975"/>
              <a:gd name="connsiteY138" fmla="*/ 1002784 h 1410656"/>
              <a:gd name="connsiteX139" fmla="*/ 52151 w 5260975"/>
              <a:gd name="connsiteY139" fmla="*/ 997695 h 1410656"/>
              <a:gd name="connsiteX140" fmla="*/ 64248 w 5260975"/>
              <a:gd name="connsiteY140" fmla="*/ 994430 h 1410656"/>
              <a:gd name="connsiteX141" fmla="*/ 126370 w 5260975"/>
              <a:gd name="connsiteY141" fmla="*/ 985405 h 1410656"/>
              <a:gd name="connsiteX142" fmla="*/ 154022 w 5260975"/>
              <a:gd name="connsiteY142" fmla="*/ 975708 h 1410656"/>
              <a:gd name="connsiteX143" fmla="*/ 161512 w 5260975"/>
              <a:gd name="connsiteY143" fmla="*/ 974268 h 1410656"/>
              <a:gd name="connsiteX144" fmla="*/ 202510 w 5260975"/>
              <a:gd name="connsiteY144" fmla="*/ 978300 h 1410656"/>
              <a:gd name="connsiteX145" fmla="*/ 233235 w 5260975"/>
              <a:gd name="connsiteY145" fmla="*/ 993950 h 1410656"/>
              <a:gd name="connsiteX146" fmla="*/ 239188 w 5260975"/>
              <a:gd name="connsiteY146" fmla="*/ 999231 h 1410656"/>
              <a:gd name="connsiteX147" fmla="*/ 324834 w 5260975"/>
              <a:gd name="connsiteY147" fmla="*/ 997407 h 1410656"/>
              <a:gd name="connsiteX148" fmla="*/ 337987 w 5260975"/>
              <a:gd name="connsiteY148" fmla="*/ 995198 h 1410656"/>
              <a:gd name="connsiteX149" fmla="*/ 401550 w 5260975"/>
              <a:gd name="connsiteY149" fmla="*/ 1004416 h 1410656"/>
              <a:gd name="connsiteX150" fmla="*/ 420081 w 5260975"/>
              <a:gd name="connsiteY150" fmla="*/ 1006240 h 1410656"/>
              <a:gd name="connsiteX151" fmla="*/ 486523 w 5260975"/>
              <a:gd name="connsiteY151" fmla="*/ 1014498 h 1410656"/>
              <a:gd name="connsiteX152" fmla="*/ 495932 w 5260975"/>
              <a:gd name="connsiteY152" fmla="*/ 1006817 h 1410656"/>
              <a:gd name="connsiteX153" fmla="*/ 523009 w 5260975"/>
              <a:gd name="connsiteY153" fmla="*/ 987517 h 1410656"/>
              <a:gd name="connsiteX154" fmla="*/ 576393 w 5260975"/>
              <a:gd name="connsiteY154" fmla="*/ 970427 h 1410656"/>
              <a:gd name="connsiteX155" fmla="*/ 590892 w 5260975"/>
              <a:gd name="connsiteY155" fmla="*/ 971387 h 1410656"/>
              <a:gd name="connsiteX156" fmla="*/ 627569 w 5260975"/>
              <a:gd name="connsiteY156" fmla="*/ 999904 h 1410656"/>
              <a:gd name="connsiteX157" fmla="*/ 645429 w 5260975"/>
              <a:gd name="connsiteY157" fmla="*/ 1011329 h 1410656"/>
              <a:gd name="connsiteX158" fmla="*/ 696125 w 5260975"/>
              <a:gd name="connsiteY158" fmla="*/ 1032356 h 1410656"/>
              <a:gd name="connsiteX159" fmla="*/ 700349 w 5260975"/>
              <a:gd name="connsiteY159" fmla="*/ 1036197 h 1410656"/>
              <a:gd name="connsiteX160" fmla="*/ 737795 w 5260975"/>
              <a:gd name="connsiteY160" fmla="*/ 1081804 h 1410656"/>
              <a:gd name="connsiteX161" fmla="*/ 746244 w 5260975"/>
              <a:gd name="connsiteY161" fmla="*/ 1089581 h 1410656"/>
              <a:gd name="connsiteX162" fmla="*/ 756422 w 5260975"/>
              <a:gd name="connsiteY162" fmla="*/ 1101680 h 1410656"/>
              <a:gd name="connsiteX163" fmla="*/ 788202 w 5260975"/>
              <a:gd name="connsiteY163" fmla="*/ 1125108 h 1410656"/>
              <a:gd name="connsiteX164" fmla="*/ 827569 w 5260975"/>
              <a:gd name="connsiteY164" fmla="*/ 1132596 h 1410656"/>
              <a:gd name="connsiteX165" fmla="*/ 875097 w 5260975"/>
              <a:gd name="connsiteY165" fmla="*/ 1144022 h 1410656"/>
              <a:gd name="connsiteX166" fmla="*/ 894972 w 5260975"/>
              <a:gd name="connsiteY166" fmla="*/ 1151704 h 1410656"/>
              <a:gd name="connsiteX167" fmla="*/ 948260 w 5260975"/>
              <a:gd name="connsiteY167" fmla="*/ 1166298 h 1410656"/>
              <a:gd name="connsiteX168" fmla="*/ 986282 w 5260975"/>
              <a:gd name="connsiteY168" fmla="*/ 1178588 h 1410656"/>
              <a:gd name="connsiteX169" fmla="*/ 1041107 w 5260975"/>
              <a:gd name="connsiteY169" fmla="*/ 1185789 h 1410656"/>
              <a:gd name="connsiteX170" fmla="*/ 1067703 w 5260975"/>
              <a:gd name="connsiteY170" fmla="*/ 1186076 h 1410656"/>
              <a:gd name="connsiteX171" fmla="*/ 1116574 w 5260975"/>
              <a:gd name="connsiteY171" fmla="*/ 1222946 h 1410656"/>
              <a:gd name="connsiteX172" fmla="*/ 1155557 w 5260975"/>
              <a:gd name="connsiteY172" fmla="*/ 1247335 h 1410656"/>
              <a:gd name="connsiteX173" fmla="*/ 1196556 w 5260975"/>
              <a:gd name="connsiteY173" fmla="*/ 1235525 h 1410656"/>
              <a:gd name="connsiteX174" fmla="*/ 1207693 w 5260975"/>
              <a:gd name="connsiteY174" fmla="*/ 1224387 h 1410656"/>
              <a:gd name="connsiteX175" fmla="*/ 1274904 w 5260975"/>
              <a:gd name="connsiteY175" fmla="*/ 1213826 h 1410656"/>
              <a:gd name="connsiteX176" fmla="*/ 1370919 w 5260975"/>
              <a:gd name="connsiteY176" fmla="*/ 1213442 h 1410656"/>
              <a:gd name="connsiteX177" fmla="*/ 1530593 w 5260975"/>
              <a:gd name="connsiteY177" fmla="*/ 1189437 h 1410656"/>
              <a:gd name="connsiteX178" fmla="*/ 1558436 w 5260975"/>
              <a:gd name="connsiteY178" fmla="*/ 1178299 h 1410656"/>
              <a:gd name="connsiteX179" fmla="*/ 1589737 w 5260975"/>
              <a:gd name="connsiteY179" fmla="*/ 1175515 h 1410656"/>
              <a:gd name="connsiteX180" fmla="*/ 1601740 w 5260975"/>
              <a:gd name="connsiteY180" fmla="*/ 1182333 h 1410656"/>
              <a:gd name="connsiteX181" fmla="*/ 1654259 w 5260975"/>
              <a:gd name="connsiteY181" fmla="*/ 1192510 h 1410656"/>
              <a:gd name="connsiteX182" fmla="*/ 1664246 w 5260975"/>
              <a:gd name="connsiteY182" fmla="*/ 1192702 h 1410656"/>
              <a:gd name="connsiteX183" fmla="*/ 1698427 w 5260975"/>
              <a:gd name="connsiteY183" fmla="*/ 1188381 h 1410656"/>
              <a:gd name="connsiteX184" fmla="*/ 1730112 w 5260975"/>
              <a:gd name="connsiteY184" fmla="*/ 1185885 h 1410656"/>
              <a:gd name="connsiteX185" fmla="*/ 1809996 w 5260975"/>
              <a:gd name="connsiteY185" fmla="*/ 1194046 h 1410656"/>
              <a:gd name="connsiteX186" fmla="*/ 1871254 w 5260975"/>
              <a:gd name="connsiteY186" fmla="*/ 1192126 h 1410656"/>
              <a:gd name="connsiteX187" fmla="*/ 1899482 w 5260975"/>
              <a:gd name="connsiteY187" fmla="*/ 1194046 h 1410656"/>
              <a:gd name="connsiteX188" fmla="*/ 1915420 w 5260975"/>
              <a:gd name="connsiteY188" fmla="*/ 1196927 h 1410656"/>
              <a:gd name="connsiteX189" fmla="*/ 1951522 w 5260975"/>
              <a:gd name="connsiteY189" fmla="*/ 1216994 h 1410656"/>
              <a:gd name="connsiteX190" fmla="*/ 1971302 w 5260975"/>
              <a:gd name="connsiteY190" fmla="*/ 1221507 h 1410656"/>
              <a:gd name="connsiteX191" fmla="*/ 2030831 w 5260975"/>
              <a:gd name="connsiteY191" fmla="*/ 1221123 h 1410656"/>
              <a:gd name="connsiteX192" fmla="*/ 2120125 w 5260975"/>
              <a:gd name="connsiteY192" fmla="*/ 1190878 h 1410656"/>
              <a:gd name="connsiteX193" fmla="*/ 2129439 w 5260975"/>
              <a:gd name="connsiteY193" fmla="*/ 1186845 h 1410656"/>
              <a:gd name="connsiteX194" fmla="*/ 2174854 w 5260975"/>
              <a:gd name="connsiteY194" fmla="*/ 1181852 h 1410656"/>
              <a:gd name="connsiteX195" fmla="*/ 2205674 w 5260975"/>
              <a:gd name="connsiteY195" fmla="*/ 1188669 h 1410656"/>
              <a:gd name="connsiteX196" fmla="*/ 2247634 w 5260975"/>
              <a:gd name="connsiteY196" fmla="*/ 1202784 h 1410656"/>
              <a:gd name="connsiteX197" fmla="*/ 2285367 w 5260975"/>
              <a:gd name="connsiteY197" fmla="*/ 1214594 h 1410656"/>
              <a:gd name="connsiteX198" fmla="*/ 2312827 w 5260975"/>
              <a:gd name="connsiteY198" fmla="*/ 1227939 h 1410656"/>
              <a:gd name="connsiteX199" fmla="*/ 2375622 w 5260975"/>
              <a:gd name="connsiteY199" fmla="*/ 1237733 h 1410656"/>
              <a:gd name="connsiteX200" fmla="*/ 2382151 w 5260975"/>
              <a:gd name="connsiteY200" fmla="*/ 1239365 h 1410656"/>
              <a:gd name="connsiteX201" fmla="*/ 2429390 w 5260975"/>
              <a:gd name="connsiteY201" fmla="*/ 1227459 h 1410656"/>
              <a:gd name="connsiteX202" fmla="*/ 2486134 w 5260975"/>
              <a:gd name="connsiteY202" fmla="*/ 1215362 h 1410656"/>
              <a:gd name="connsiteX203" fmla="*/ 2506394 w 5260975"/>
              <a:gd name="connsiteY203" fmla="*/ 1219490 h 1410656"/>
              <a:gd name="connsiteX204" fmla="*/ 2534142 w 5260975"/>
              <a:gd name="connsiteY204" fmla="*/ 1225347 h 1410656"/>
              <a:gd name="connsiteX205" fmla="*/ 2559874 w 5260975"/>
              <a:gd name="connsiteY205" fmla="*/ 1222275 h 1410656"/>
              <a:gd name="connsiteX206" fmla="*/ 2575525 w 5260975"/>
              <a:gd name="connsiteY206" fmla="*/ 1221987 h 1410656"/>
              <a:gd name="connsiteX207" fmla="*/ 2646960 w 5260975"/>
              <a:gd name="connsiteY207" fmla="*/ 1257896 h 1410656"/>
              <a:gd name="connsiteX208" fmla="*/ 2665107 w 5260975"/>
              <a:gd name="connsiteY208" fmla="*/ 1260873 h 1410656"/>
              <a:gd name="connsiteX209" fmla="*/ 2675381 w 5260975"/>
              <a:gd name="connsiteY209" fmla="*/ 1265290 h 1410656"/>
              <a:gd name="connsiteX210" fmla="*/ 2737311 w 5260975"/>
              <a:gd name="connsiteY210" fmla="*/ 1309841 h 1410656"/>
              <a:gd name="connsiteX211" fmla="*/ 2763619 w 5260975"/>
              <a:gd name="connsiteY211" fmla="*/ 1318866 h 1410656"/>
              <a:gd name="connsiteX212" fmla="*/ 2792519 w 5260975"/>
              <a:gd name="connsiteY212" fmla="*/ 1317041 h 1410656"/>
              <a:gd name="connsiteX213" fmla="*/ 2809226 w 5260975"/>
              <a:gd name="connsiteY213" fmla="*/ 1313777 h 1410656"/>
              <a:gd name="connsiteX214" fmla="*/ 2850705 w 5260975"/>
              <a:gd name="connsiteY214" fmla="*/ 1285452 h 1410656"/>
              <a:gd name="connsiteX215" fmla="*/ 2874324 w 5260975"/>
              <a:gd name="connsiteY215" fmla="*/ 1286413 h 1410656"/>
              <a:gd name="connsiteX216" fmla="*/ 2911194 w 5260975"/>
              <a:gd name="connsiteY216" fmla="*/ 1305903 h 1410656"/>
              <a:gd name="connsiteX217" fmla="*/ 2978116 w 5260975"/>
              <a:gd name="connsiteY217" fmla="*/ 1314641 h 1410656"/>
              <a:gd name="connsiteX218" fmla="*/ 3012106 w 5260975"/>
              <a:gd name="connsiteY218" fmla="*/ 1287373 h 1410656"/>
              <a:gd name="connsiteX219" fmla="*/ 3029676 w 5260975"/>
              <a:gd name="connsiteY219" fmla="*/ 1261161 h 1410656"/>
              <a:gd name="connsiteX220" fmla="*/ 3080469 w 5260975"/>
              <a:gd name="connsiteY220" fmla="*/ 1230724 h 1410656"/>
              <a:gd name="connsiteX221" fmla="*/ 3092567 w 5260975"/>
              <a:gd name="connsiteY221" fmla="*/ 1242054 h 1410656"/>
              <a:gd name="connsiteX222" fmla="*/ 3129821 w 5260975"/>
              <a:gd name="connsiteY222" fmla="*/ 1246855 h 1410656"/>
              <a:gd name="connsiteX223" fmla="*/ 3170147 w 5260975"/>
              <a:gd name="connsiteY223" fmla="*/ 1246471 h 1410656"/>
              <a:gd name="connsiteX224" fmla="*/ 3240429 w 5260975"/>
              <a:gd name="connsiteY224" fmla="*/ 1251559 h 1410656"/>
              <a:gd name="connsiteX225" fmla="*/ 3287189 w 5260975"/>
              <a:gd name="connsiteY225" fmla="*/ 1222466 h 1410656"/>
              <a:gd name="connsiteX226" fmla="*/ 3305049 w 5260975"/>
              <a:gd name="connsiteY226" fmla="*/ 1210465 h 1410656"/>
              <a:gd name="connsiteX227" fmla="*/ 3321755 w 5260975"/>
              <a:gd name="connsiteY227" fmla="*/ 1202784 h 1410656"/>
              <a:gd name="connsiteX228" fmla="*/ 3341055 w 5260975"/>
              <a:gd name="connsiteY228" fmla="*/ 1198463 h 1410656"/>
              <a:gd name="connsiteX229" fmla="*/ 3387621 w 5260975"/>
              <a:gd name="connsiteY229" fmla="*/ 1182140 h 1410656"/>
              <a:gd name="connsiteX230" fmla="*/ 3413161 w 5260975"/>
              <a:gd name="connsiteY230" fmla="*/ 1166105 h 1410656"/>
              <a:gd name="connsiteX231" fmla="*/ 3470579 w 5260975"/>
              <a:gd name="connsiteY231" fmla="*/ 1150647 h 1410656"/>
              <a:gd name="connsiteX232" fmla="*/ 3509657 w 5260975"/>
              <a:gd name="connsiteY232" fmla="*/ 1136821 h 1410656"/>
              <a:gd name="connsiteX233" fmla="*/ 3550847 w 5260975"/>
              <a:gd name="connsiteY233" fmla="*/ 1113009 h 1410656"/>
              <a:gd name="connsiteX234" fmla="*/ 3556608 w 5260975"/>
              <a:gd name="connsiteY234" fmla="*/ 1109361 h 1410656"/>
              <a:gd name="connsiteX235" fmla="*/ 3570435 w 5260975"/>
              <a:gd name="connsiteY235" fmla="*/ 1093710 h 1410656"/>
              <a:gd name="connsiteX236" fmla="*/ 3590501 w 5260975"/>
              <a:gd name="connsiteY236" fmla="*/ 1039846 h 1410656"/>
              <a:gd name="connsiteX237" fmla="*/ 3596263 w 5260975"/>
              <a:gd name="connsiteY237" fmla="*/ 1028900 h 1410656"/>
              <a:gd name="connsiteX238" fmla="*/ 3648591 w 5260975"/>
              <a:gd name="connsiteY238" fmla="*/ 992030 h 1410656"/>
              <a:gd name="connsiteX239" fmla="*/ 3667986 w 5260975"/>
              <a:gd name="connsiteY239" fmla="*/ 995487 h 1410656"/>
              <a:gd name="connsiteX240" fmla="*/ 3689397 w 5260975"/>
              <a:gd name="connsiteY240" fmla="*/ 1007585 h 1410656"/>
              <a:gd name="connsiteX241" fmla="*/ 3736349 w 5260975"/>
              <a:gd name="connsiteY241" fmla="*/ 1010753 h 1410656"/>
              <a:gd name="connsiteX242" fmla="*/ 3753919 w 5260975"/>
              <a:gd name="connsiteY242" fmla="*/ 1004513 h 1410656"/>
              <a:gd name="connsiteX243" fmla="*/ 3784643 w 5260975"/>
              <a:gd name="connsiteY243" fmla="*/ 987710 h 1410656"/>
              <a:gd name="connsiteX244" fmla="*/ 3808359 w 5260975"/>
              <a:gd name="connsiteY244" fmla="*/ 961689 h 1410656"/>
              <a:gd name="connsiteX245" fmla="*/ 3842829 w 5260975"/>
              <a:gd name="connsiteY245" fmla="*/ 918674 h 1410656"/>
              <a:gd name="connsiteX246" fmla="*/ 3908983 w 5260975"/>
              <a:gd name="connsiteY246" fmla="*/ 902256 h 1410656"/>
              <a:gd name="connsiteX247" fmla="*/ 3934428 w 5260975"/>
              <a:gd name="connsiteY247" fmla="*/ 896783 h 1410656"/>
              <a:gd name="connsiteX248" fmla="*/ 4026987 w 5260975"/>
              <a:gd name="connsiteY248" fmla="*/ 873835 h 1410656"/>
              <a:gd name="connsiteX249" fmla="*/ 4035051 w 5260975"/>
              <a:gd name="connsiteY249" fmla="*/ 873067 h 1410656"/>
              <a:gd name="connsiteX250" fmla="*/ 4099189 w 5260975"/>
              <a:gd name="connsiteY250" fmla="*/ 846664 h 1410656"/>
              <a:gd name="connsiteX251" fmla="*/ 4114647 w 5260975"/>
              <a:gd name="connsiteY251" fmla="*/ 840134 h 1410656"/>
              <a:gd name="connsiteX252" fmla="*/ 4133563 w 5260975"/>
              <a:gd name="connsiteY252" fmla="*/ 823427 h 1410656"/>
              <a:gd name="connsiteX253" fmla="*/ 4151039 w 5260975"/>
              <a:gd name="connsiteY253" fmla="*/ 776284 h 1410656"/>
              <a:gd name="connsiteX254" fmla="*/ 4171489 w 5260975"/>
              <a:gd name="connsiteY254" fmla="*/ 754776 h 1410656"/>
              <a:gd name="connsiteX255" fmla="*/ 4186372 w 5260975"/>
              <a:gd name="connsiteY255" fmla="*/ 741718 h 1410656"/>
              <a:gd name="connsiteX256" fmla="*/ 4199429 w 5260975"/>
              <a:gd name="connsiteY256" fmla="*/ 721940 h 1410656"/>
              <a:gd name="connsiteX257" fmla="*/ 4212487 w 5260975"/>
              <a:gd name="connsiteY257" fmla="*/ 674604 h 1410656"/>
              <a:gd name="connsiteX258" fmla="*/ 4232555 w 5260975"/>
              <a:gd name="connsiteY258" fmla="*/ 632645 h 1410656"/>
              <a:gd name="connsiteX259" fmla="*/ 4268657 w 5260975"/>
              <a:gd name="connsiteY259" fmla="*/ 609410 h 1410656"/>
              <a:gd name="connsiteX260" fmla="*/ 4291028 w 5260975"/>
              <a:gd name="connsiteY260" fmla="*/ 597216 h 1410656"/>
              <a:gd name="connsiteX261" fmla="*/ 4379651 w 5260975"/>
              <a:gd name="connsiteY261" fmla="*/ 609506 h 1410656"/>
              <a:gd name="connsiteX262" fmla="*/ 4440139 w 5260975"/>
              <a:gd name="connsiteY262" fmla="*/ 621507 h 1410656"/>
              <a:gd name="connsiteX263" fmla="*/ 4460015 w 5260975"/>
              <a:gd name="connsiteY263" fmla="*/ 616899 h 1410656"/>
              <a:gd name="connsiteX264" fmla="*/ 4516183 w 5260975"/>
              <a:gd name="connsiteY264" fmla="*/ 577724 h 1410656"/>
              <a:gd name="connsiteX265" fmla="*/ 4571681 w 5260975"/>
              <a:gd name="connsiteY265" fmla="*/ 560250 h 1410656"/>
              <a:gd name="connsiteX266" fmla="*/ 4613447 w 5260975"/>
              <a:gd name="connsiteY266" fmla="*/ 555257 h 1410656"/>
              <a:gd name="connsiteX267" fmla="*/ 4649355 w 5260975"/>
              <a:gd name="connsiteY267" fmla="*/ 551417 h 1410656"/>
              <a:gd name="connsiteX268" fmla="*/ 4692467 w 5260975"/>
              <a:gd name="connsiteY268" fmla="*/ 540663 h 1410656"/>
              <a:gd name="connsiteX269" fmla="*/ 4716855 w 5260975"/>
              <a:gd name="connsiteY269" fmla="*/ 528949 h 1410656"/>
              <a:gd name="connsiteX270" fmla="*/ 4755645 w 5260975"/>
              <a:gd name="connsiteY270" fmla="*/ 512147 h 1410656"/>
              <a:gd name="connsiteX271" fmla="*/ 4795395 w 5260975"/>
              <a:gd name="connsiteY271" fmla="*/ 490351 h 1410656"/>
              <a:gd name="connsiteX272" fmla="*/ 4825928 w 5260975"/>
              <a:gd name="connsiteY272" fmla="*/ 459818 h 1410656"/>
              <a:gd name="connsiteX273" fmla="*/ 4842347 w 5260975"/>
              <a:gd name="connsiteY273" fmla="*/ 434086 h 1410656"/>
              <a:gd name="connsiteX274" fmla="*/ 4890451 w 5260975"/>
              <a:gd name="connsiteY274" fmla="*/ 397216 h 1410656"/>
              <a:gd name="connsiteX275" fmla="*/ 4933945 w 5260975"/>
              <a:gd name="connsiteY275" fmla="*/ 327701 h 1410656"/>
              <a:gd name="connsiteX276" fmla="*/ 4961214 w 5260975"/>
              <a:gd name="connsiteY276" fmla="*/ 298801 h 1410656"/>
              <a:gd name="connsiteX277" fmla="*/ 4976672 w 5260975"/>
              <a:gd name="connsiteY277" fmla="*/ 290639 h 1410656"/>
              <a:gd name="connsiteX278" fmla="*/ 5002979 w 5260975"/>
              <a:gd name="connsiteY278" fmla="*/ 270573 h 1410656"/>
              <a:gd name="connsiteX279" fmla="*/ 5018535 w 5260975"/>
              <a:gd name="connsiteY279" fmla="*/ 255690 h 1410656"/>
              <a:gd name="connsiteX280" fmla="*/ 5061069 w 5260975"/>
              <a:gd name="connsiteY280" fmla="*/ 200961 h 1410656"/>
              <a:gd name="connsiteX281" fmla="*/ 5074127 w 5260975"/>
              <a:gd name="connsiteY281" fmla="*/ 184735 h 1410656"/>
              <a:gd name="connsiteX282" fmla="*/ 5101108 w 5260975"/>
              <a:gd name="connsiteY282" fmla="*/ 156891 h 1410656"/>
              <a:gd name="connsiteX283" fmla="*/ 5112918 w 5260975"/>
              <a:gd name="connsiteY283" fmla="*/ 148441 h 1410656"/>
              <a:gd name="connsiteX284" fmla="*/ 5133753 w 5260975"/>
              <a:gd name="connsiteY284" fmla="*/ 125782 h 1410656"/>
              <a:gd name="connsiteX285" fmla="*/ 5183393 w 5260975"/>
              <a:gd name="connsiteY285" fmla="*/ 66348 h 1410656"/>
              <a:gd name="connsiteX286" fmla="*/ 5204709 w 5260975"/>
              <a:gd name="connsiteY286" fmla="*/ 33030 h 1410656"/>
              <a:gd name="connsiteX287" fmla="*/ 5247243 w 5260975"/>
              <a:gd name="connsiteY287" fmla="*/ 8451 h 141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Lst>
            <a:rect l="l" t="t" r="r" b="b"/>
            <a:pathLst>
              <a:path w="5260975" h="1410656">
                <a:moveTo>
                  <a:pt x="5260975" y="0"/>
                </a:moveTo>
                <a:lnTo>
                  <a:pt x="5260975" y="221634"/>
                </a:lnTo>
                <a:lnTo>
                  <a:pt x="5226503" y="237063"/>
                </a:lnTo>
                <a:cubicBezTo>
                  <a:pt x="5219783" y="239848"/>
                  <a:pt x="5212389" y="241384"/>
                  <a:pt x="5206341" y="245128"/>
                </a:cubicBezTo>
                <a:cubicBezTo>
                  <a:pt x="5178495" y="262219"/>
                  <a:pt x="5151515" y="280654"/>
                  <a:pt x="5123287" y="297073"/>
                </a:cubicBezTo>
                <a:cubicBezTo>
                  <a:pt x="5094195" y="314067"/>
                  <a:pt x="5068175" y="334134"/>
                  <a:pt x="5048107" y="361307"/>
                </a:cubicBezTo>
                <a:cubicBezTo>
                  <a:pt x="5029480" y="386559"/>
                  <a:pt x="5011429" y="412194"/>
                  <a:pt x="4992899" y="437542"/>
                </a:cubicBezTo>
                <a:cubicBezTo>
                  <a:pt x="4988194" y="443975"/>
                  <a:pt x="4983873" y="451561"/>
                  <a:pt x="4977440" y="455690"/>
                </a:cubicBezTo>
                <a:cubicBezTo>
                  <a:pt x="4964094" y="464331"/>
                  <a:pt x="4949499" y="471340"/>
                  <a:pt x="4935193" y="478445"/>
                </a:cubicBezTo>
                <a:cubicBezTo>
                  <a:pt x="4922903" y="484494"/>
                  <a:pt x="4909845" y="489006"/>
                  <a:pt x="4897844" y="495535"/>
                </a:cubicBezTo>
                <a:cubicBezTo>
                  <a:pt x="4888243" y="500721"/>
                  <a:pt x="4879697" y="507922"/>
                  <a:pt x="4870767" y="514451"/>
                </a:cubicBezTo>
                <a:cubicBezTo>
                  <a:pt x="4862990" y="520115"/>
                  <a:pt x="4854445" y="525012"/>
                  <a:pt x="4847916" y="531830"/>
                </a:cubicBezTo>
                <a:cubicBezTo>
                  <a:pt x="4831977" y="548344"/>
                  <a:pt x="4815942" y="564571"/>
                  <a:pt x="4796163" y="576765"/>
                </a:cubicBezTo>
                <a:cubicBezTo>
                  <a:pt x="4776672" y="588862"/>
                  <a:pt x="4758237" y="602401"/>
                  <a:pt x="4738843" y="614691"/>
                </a:cubicBezTo>
                <a:cubicBezTo>
                  <a:pt x="4719831" y="626693"/>
                  <a:pt x="4702645" y="639846"/>
                  <a:pt x="4692755" y="661162"/>
                </a:cubicBezTo>
                <a:cubicBezTo>
                  <a:pt x="4688339" y="670571"/>
                  <a:pt x="4682097" y="680845"/>
                  <a:pt x="4673744" y="686318"/>
                </a:cubicBezTo>
                <a:cubicBezTo>
                  <a:pt x="4661838" y="694095"/>
                  <a:pt x="4646764" y="696880"/>
                  <a:pt x="4633801" y="703505"/>
                </a:cubicBezTo>
                <a:cubicBezTo>
                  <a:pt x="4618535" y="711282"/>
                  <a:pt x="4600869" y="718003"/>
                  <a:pt x="4590499" y="730389"/>
                </a:cubicBezTo>
                <a:cubicBezTo>
                  <a:pt x="4581281" y="741431"/>
                  <a:pt x="4571968" y="750072"/>
                  <a:pt x="4559773" y="757081"/>
                </a:cubicBezTo>
                <a:cubicBezTo>
                  <a:pt x="4551229" y="761978"/>
                  <a:pt x="4544892" y="770907"/>
                  <a:pt x="4536059" y="774940"/>
                </a:cubicBezTo>
                <a:cubicBezTo>
                  <a:pt x="4524441" y="780317"/>
                  <a:pt x="4512727" y="784542"/>
                  <a:pt x="4502549" y="792895"/>
                </a:cubicBezTo>
                <a:cubicBezTo>
                  <a:pt x="4491987" y="801536"/>
                  <a:pt x="4479986" y="808353"/>
                  <a:pt x="4468944" y="816419"/>
                </a:cubicBezTo>
                <a:cubicBezTo>
                  <a:pt x="4463087" y="820739"/>
                  <a:pt x="4458286" y="826404"/>
                  <a:pt x="4452622" y="830917"/>
                </a:cubicBezTo>
                <a:cubicBezTo>
                  <a:pt x="4442252" y="839174"/>
                  <a:pt x="4431690" y="847239"/>
                  <a:pt x="4421032" y="855016"/>
                </a:cubicBezTo>
                <a:cubicBezTo>
                  <a:pt x="4410375" y="862794"/>
                  <a:pt x="4400197" y="871819"/>
                  <a:pt x="4388483" y="877484"/>
                </a:cubicBezTo>
                <a:cubicBezTo>
                  <a:pt x="4368513" y="887086"/>
                  <a:pt x="4346717" y="892847"/>
                  <a:pt x="4327321" y="903216"/>
                </a:cubicBezTo>
                <a:cubicBezTo>
                  <a:pt x="4307639" y="913777"/>
                  <a:pt x="4289107" y="927028"/>
                  <a:pt x="4271633" y="941046"/>
                </a:cubicBezTo>
                <a:cubicBezTo>
                  <a:pt x="4257807" y="952088"/>
                  <a:pt x="4244845" y="963034"/>
                  <a:pt x="4227465" y="968698"/>
                </a:cubicBezTo>
                <a:cubicBezTo>
                  <a:pt x="4217768" y="971867"/>
                  <a:pt x="4207591" y="978780"/>
                  <a:pt x="4201733" y="986846"/>
                </a:cubicBezTo>
                <a:cubicBezTo>
                  <a:pt x="4189059" y="1004416"/>
                  <a:pt x="4172833" y="1016802"/>
                  <a:pt x="4154494" y="1027364"/>
                </a:cubicBezTo>
                <a:cubicBezTo>
                  <a:pt x="4130010" y="1041574"/>
                  <a:pt x="4105814" y="1056072"/>
                  <a:pt x="4081234" y="1069994"/>
                </a:cubicBezTo>
                <a:cubicBezTo>
                  <a:pt x="4066737" y="1078252"/>
                  <a:pt x="4052335" y="1086989"/>
                  <a:pt x="4036971" y="1093038"/>
                </a:cubicBezTo>
                <a:cubicBezTo>
                  <a:pt x="4005575" y="1105520"/>
                  <a:pt x="3973410" y="1116177"/>
                  <a:pt x="3941725" y="1127796"/>
                </a:cubicBezTo>
                <a:cubicBezTo>
                  <a:pt x="3931355" y="1131540"/>
                  <a:pt x="3921561" y="1136917"/>
                  <a:pt x="3910999" y="1140182"/>
                </a:cubicBezTo>
                <a:cubicBezTo>
                  <a:pt x="3899573" y="1143734"/>
                  <a:pt x="3887285" y="1144790"/>
                  <a:pt x="3875859" y="1148343"/>
                </a:cubicBezTo>
                <a:cubicBezTo>
                  <a:pt x="3856847" y="1154199"/>
                  <a:pt x="3838412" y="1161689"/>
                  <a:pt x="3819401" y="1167642"/>
                </a:cubicBezTo>
                <a:cubicBezTo>
                  <a:pt x="3782723" y="1179068"/>
                  <a:pt x="3745949" y="1190014"/>
                  <a:pt x="3709176" y="1200863"/>
                </a:cubicBezTo>
                <a:cubicBezTo>
                  <a:pt x="3701303" y="1203168"/>
                  <a:pt x="3692757" y="1203456"/>
                  <a:pt x="3684981" y="1205952"/>
                </a:cubicBezTo>
                <a:cubicBezTo>
                  <a:pt x="3664337" y="1212673"/>
                  <a:pt x="3643789" y="1219970"/>
                  <a:pt x="3623338" y="1227363"/>
                </a:cubicBezTo>
                <a:cubicBezTo>
                  <a:pt x="3610953" y="1231876"/>
                  <a:pt x="3598854" y="1237445"/>
                  <a:pt x="3586373" y="1241765"/>
                </a:cubicBezTo>
                <a:cubicBezTo>
                  <a:pt x="3576387" y="1245222"/>
                  <a:pt x="3566113" y="1247910"/>
                  <a:pt x="3555743" y="1250023"/>
                </a:cubicBezTo>
                <a:cubicBezTo>
                  <a:pt x="3546814" y="1251848"/>
                  <a:pt x="3537501" y="1251655"/>
                  <a:pt x="3528667" y="1253864"/>
                </a:cubicBezTo>
                <a:cubicBezTo>
                  <a:pt x="3504759" y="1259816"/>
                  <a:pt x="3481140" y="1266538"/>
                  <a:pt x="3457424" y="1272874"/>
                </a:cubicBezTo>
                <a:cubicBezTo>
                  <a:pt x="3447919" y="1275371"/>
                  <a:pt x="3438221" y="1277196"/>
                  <a:pt x="3429003" y="1280364"/>
                </a:cubicBezTo>
                <a:cubicBezTo>
                  <a:pt x="3404327" y="1288717"/>
                  <a:pt x="3380036" y="1298222"/>
                  <a:pt x="3355264" y="1306096"/>
                </a:cubicBezTo>
                <a:cubicBezTo>
                  <a:pt x="3334717" y="1312625"/>
                  <a:pt x="3313593" y="1317329"/>
                  <a:pt x="3292757" y="1323090"/>
                </a:cubicBezTo>
                <a:cubicBezTo>
                  <a:pt x="3283924" y="1325587"/>
                  <a:pt x="3275475" y="1329140"/>
                  <a:pt x="3266643" y="1331251"/>
                </a:cubicBezTo>
                <a:cubicBezTo>
                  <a:pt x="3246863" y="1336053"/>
                  <a:pt x="3226796" y="1340085"/>
                  <a:pt x="3206921" y="1344886"/>
                </a:cubicBezTo>
                <a:cubicBezTo>
                  <a:pt x="3195590" y="1347670"/>
                  <a:pt x="3184645" y="1352663"/>
                  <a:pt x="3173123" y="1354488"/>
                </a:cubicBezTo>
                <a:cubicBezTo>
                  <a:pt x="3145759" y="1358808"/>
                  <a:pt x="3118203" y="1361880"/>
                  <a:pt x="3090646" y="1365337"/>
                </a:cubicBezTo>
                <a:cubicBezTo>
                  <a:pt x="3062227" y="1368889"/>
                  <a:pt x="3033902" y="1372634"/>
                  <a:pt x="3005480" y="1375802"/>
                </a:cubicBezTo>
                <a:cubicBezTo>
                  <a:pt x="2989926" y="1377435"/>
                  <a:pt x="2974275" y="1377723"/>
                  <a:pt x="2958721" y="1379259"/>
                </a:cubicBezTo>
                <a:cubicBezTo>
                  <a:pt x="2945087" y="1380604"/>
                  <a:pt x="2931549" y="1383100"/>
                  <a:pt x="2917915" y="1384733"/>
                </a:cubicBezTo>
                <a:cubicBezTo>
                  <a:pt x="2906105" y="1386076"/>
                  <a:pt x="2894199" y="1386844"/>
                  <a:pt x="2882389" y="1388189"/>
                </a:cubicBezTo>
                <a:cubicBezTo>
                  <a:pt x="2863475" y="1390397"/>
                  <a:pt x="2844655" y="1392894"/>
                  <a:pt x="2825837" y="1395198"/>
                </a:cubicBezTo>
                <a:cubicBezTo>
                  <a:pt x="2817964" y="1396062"/>
                  <a:pt x="2809706" y="1398462"/>
                  <a:pt x="2802313" y="1397023"/>
                </a:cubicBezTo>
                <a:cubicBezTo>
                  <a:pt x="2783686" y="1393373"/>
                  <a:pt x="2765347" y="1394430"/>
                  <a:pt x="2746816" y="1396926"/>
                </a:cubicBezTo>
                <a:cubicBezTo>
                  <a:pt x="2740479" y="1397791"/>
                  <a:pt x="2733662" y="1397598"/>
                  <a:pt x="2727517" y="1395966"/>
                </a:cubicBezTo>
                <a:cubicBezTo>
                  <a:pt x="2714939" y="1392701"/>
                  <a:pt x="2702745" y="1388092"/>
                  <a:pt x="2690359" y="1384060"/>
                </a:cubicBezTo>
                <a:cubicBezTo>
                  <a:pt x="2689014" y="1383580"/>
                  <a:pt x="2687382" y="1383484"/>
                  <a:pt x="2685943" y="1383196"/>
                </a:cubicBezTo>
                <a:cubicBezTo>
                  <a:pt x="2677781" y="1381563"/>
                  <a:pt x="2669717" y="1379931"/>
                  <a:pt x="2661554" y="1378491"/>
                </a:cubicBezTo>
                <a:cubicBezTo>
                  <a:pt x="2657138" y="1377723"/>
                  <a:pt x="2652625" y="1377627"/>
                  <a:pt x="2648208" y="1376955"/>
                </a:cubicBezTo>
                <a:cubicBezTo>
                  <a:pt x="2631118" y="1374266"/>
                  <a:pt x="2612299" y="1378779"/>
                  <a:pt x="2597512" y="1367162"/>
                </a:cubicBezTo>
                <a:cubicBezTo>
                  <a:pt x="2587911" y="1359672"/>
                  <a:pt x="2578597" y="1361401"/>
                  <a:pt x="2568324" y="1362553"/>
                </a:cubicBezTo>
                <a:cubicBezTo>
                  <a:pt x="2560547" y="1363417"/>
                  <a:pt x="2552577" y="1363128"/>
                  <a:pt x="2544704" y="1363225"/>
                </a:cubicBezTo>
                <a:cubicBezTo>
                  <a:pt x="2530878" y="1363512"/>
                  <a:pt x="2517052" y="1363609"/>
                  <a:pt x="2503225" y="1364089"/>
                </a:cubicBezTo>
                <a:cubicBezTo>
                  <a:pt x="2498808" y="1364281"/>
                  <a:pt x="2494297" y="1366682"/>
                  <a:pt x="2489975" y="1366298"/>
                </a:cubicBezTo>
                <a:cubicBezTo>
                  <a:pt x="2470004" y="1364473"/>
                  <a:pt x="2450033" y="1361592"/>
                  <a:pt x="2430061" y="1359960"/>
                </a:cubicBezTo>
                <a:cubicBezTo>
                  <a:pt x="2418732" y="1359001"/>
                  <a:pt x="2407114" y="1360824"/>
                  <a:pt x="2395880" y="1359480"/>
                </a:cubicBezTo>
                <a:cubicBezTo>
                  <a:pt x="2382919" y="1357944"/>
                  <a:pt x="2370245" y="1354008"/>
                  <a:pt x="2357378" y="1351607"/>
                </a:cubicBezTo>
                <a:cubicBezTo>
                  <a:pt x="2353826" y="1350935"/>
                  <a:pt x="2349889" y="1351799"/>
                  <a:pt x="2346145" y="1351991"/>
                </a:cubicBezTo>
                <a:cubicBezTo>
                  <a:pt x="2341920" y="1352183"/>
                  <a:pt x="2337791" y="1352567"/>
                  <a:pt x="2333567" y="1352663"/>
                </a:cubicBezTo>
                <a:cubicBezTo>
                  <a:pt x="2320700" y="1352856"/>
                  <a:pt x="2307835" y="1352567"/>
                  <a:pt x="2294968" y="1353240"/>
                </a:cubicBezTo>
                <a:cubicBezTo>
                  <a:pt x="2287095" y="1353624"/>
                  <a:pt x="2278839" y="1357560"/>
                  <a:pt x="2271540" y="1356120"/>
                </a:cubicBezTo>
                <a:cubicBezTo>
                  <a:pt x="2256659" y="1353335"/>
                  <a:pt x="2241776" y="1359576"/>
                  <a:pt x="2226895" y="1354392"/>
                </a:cubicBezTo>
                <a:cubicBezTo>
                  <a:pt x="2222285" y="1352856"/>
                  <a:pt x="2215948" y="1356696"/>
                  <a:pt x="2210379" y="1356888"/>
                </a:cubicBezTo>
                <a:cubicBezTo>
                  <a:pt x="2196457" y="1357368"/>
                  <a:pt x="2182535" y="1357272"/>
                  <a:pt x="2168613" y="1357176"/>
                </a:cubicBezTo>
                <a:cubicBezTo>
                  <a:pt x="2156131" y="1357080"/>
                  <a:pt x="2143168" y="1358424"/>
                  <a:pt x="2131167" y="1355736"/>
                </a:cubicBezTo>
                <a:cubicBezTo>
                  <a:pt x="2118588" y="1352856"/>
                  <a:pt x="2107259" y="1353240"/>
                  <a:pt x="2095065" y="1356504"/>
                </a:cubicBezTo>
                <a:cubicBezTo>
                  <a:pt x="2086711" y="1358712"/>
                  <a:pt x="2077878" y="1359001"/>
                  <a:pt x="2069237" y="1359672"/>
                </a:cubicBezTo>
                <a:cubicBezTo>
                  <a:pt x="2059924" y="1360440"/>
                  <a:pt x="2049650" y="1358424"/>
                  <a:pt x="2041201" y="1361592"/>
                </a:cubicBezTo>
                <a:cubicBezTo>
                  <a:pt x="2016044" y="1371002"/>
                  <a:pt x="1990216" y="1373018"/>
                  <a:pt x="1963909" y="1373018"/>
                </a:cubicBezTo>
                <a:cubicBezTo>
                  <a:pt x="1959107" y="1373018"/>
                  <a:pt x="1954210" y="1371675"/>
                  <a:pt x="1949603" y="1370234"/>
                </a:cubicBezTo>
                <a:cubicBezTo>
                  <a:pt x="1922717" y="1361592"/>
                  <a:pt x="1895737" y="1362360"/>
                  <a:pt x="1868373" y="1367641"/>
                </a:cubicBezTo>
                <a:cubicBezTo>
                  <a:pt x="1862708" y="1368794"/>
                  <a:pt x="1856372" y="1368986"/>
                  <a:pt x="1850707" y="1367834"/>
                </a:cubicBezTo>
                <a:cubicBezTo>
                  <a:pt x="1834768" y="1364473"/>
                  <a:pt x="1819309" y="1358904"/>
                  <a:pt x="1803275" y="1356504"/>
                </a:cubicBezTo>
                <a:cubicBezTo>
                  <a:pt x="1776775" y="1352567"/>
                  <a:pt x="1753828" y="1365817"/>
                  <a:pt x="1730112" y="1374459"/>
                </a:cubicBezTo>
                <a:cubicBezTo>
                  <a:pt x="1707548" y="1382620"/>
                  <a:pt x="1688345" y="1401055"/>
                  <a:pt x="1661652" y="1396926"/>
                </a:cubicBezTo>
                <a:cubicBezTo>
                  <a:pt x="1658965" y="1396542"/>
                  <a:pt x="1655988" y="1399134"/>
                  <a:pt x="1653011" y="1399807"/>
                </a:cubicBezTo>
                <a:cubicBezTo>
                  <a:pt x="1644850" y="1401631"/>
                  <a:pt x="1636689" y="1403839"/>
                  <a:pt x="1628431" y="1404704"/>
                </a:cubicBezTo>
                <a:cubicBezTo>
                  <a:pt x="1618350" y="1405856"/>
                  <a:pt x="1608076" y="1405472"/>
                  <a:pt x="1597995" y="1406432"/>
                </a:cubicBezTo>
                <a:cubicBezTo>
                  <a:pt x="1585032" y="1407584"/>
                  <a:pt x="1572263" y="1410656"/>
                  <a:pt x="1559396" y="1410656"/>
                </a:cubicBezTo>
                <a:cubicBezTo>
                  <a:pt x="1549026" y="1410656"/>
                  <a:pt x="1538753" y="1407104"/>
                  <a:pt x="1528480" y="1405375"/>
                </a:cubicBezTo>
                <a:cubicBezTo>
                  <a:pt x="1513981" y="1402975"/>
                  <a:pt x="1498042" y="1403647"/>
                  <a:pt x="1485272" y="1397502"/>
                </a:cubicBezTo>
                <a:cubicBezTo>
                  <a:pt x="1471639" y="1390973"/>
                  <a:pt x="1458676" y="1387997"/>
                  <a:pt x="1444562" y="1390013"/>
                </a:cubicBezTo>
                <a:cubicBezTo>
                  <a:pt x="1439857" y="1390685"/>
                  <a:pt x="1433808" y="1394718"/>
                  <a:pt x="1431696" y="1398846"/>
                </a:cubicBezTo>
                <a:cubicBezTo>
                  <a:pt x="1426991" y="1408064"/>
                  <a:pt x="1420559" y="1409697"/>
                  <a:pt x="1411821" y="1406527"/>
                </a:cubicBezTo>
                <a:cubicBezTo>
                  <a:pt x="1404236" y="1403839"/>
                  <a:pt x="1394922" y="1402495"/>
                  <a:pt x="1389738" y="1397310"/>
                </a:cubicBezTo>
                <a:cubicBezTo>
                  <a:pt x="1375047" y="1382620"/>
                  <a:pt x="1356324" y="1382140"/>
                  <a:pt x="1338081" y="1378204"/>
                </a:cubicBezTo>
                <a:cubicBezTo>
                  <a:pt x="1326945" y="1375802"/>
                  <a:pt x="1316574" y="1375707"/>
                  <a:pt x="1305436" y="1377339"/>
                </a:cubicBezTo>
                <a:cubicBezTo>
                  <a:pt x="1281241" y="1380988"/>
                  <a:pt x="1257717" y="1375802"/>
                  <a:pt x="1234481" y="1369178"/>
                </a:cubicBezTo>
                <a:cubicBezTo>
                  <a:pt x="1219118" y="1364761"/>
                  <a:pt x="1203372" y="1362073"/>
                  <a:pt x="1188106" y="1357560"/>
                </a:cubicBezTo>
                <a:cubicBezTo>
                  <a:pt x="1176680" y="1354104"/>
                  <a:pt x="1165255" y="1349975"/>
                  <a:pt x="1154790" y="1344406"/>
                </a:cubicBezTo>
                <a:cubicBezTo>
                  <a:pt x="1139618" y="1336244"/>
                  <a:pt x="1126369" y="1323954"/>
                  <a:pt x="1107069" y="1327219"/>
                </a:cubicBezTo>
                <a:cubicBezTo>
                  <a:pt x="1090074" y="1330099"/>
                  <a:pt x="1074713" y="1324051"/>
                  <a:pt x="1059158" y="1318290"/>
                </a:cubicBezTo>
                <a:cubicBezTo>
                  <a:pt x="1047732" y="1314065"/>
                  <a:pt x="1036308" y="1309744"/>
                  <a:pt x="1024496" y="1307056"/>
                </a:cubicBezTo>
                <a:cubicBezTo>
                  <a:pt x="1010478" y="1303887"/>
                  <a:pt x="994635" y="1305232"/>
                  <a:pt x="982153" y="1299374"/>
                </a:cubicBezTo>
                <a:cubicBezTo>
                  <a:pt x="969095" y="1293229"/>
                  <a:pt x="958246" y="1297358"/>
                  <a:pt x="946628" y="1299087"/>
                </a:cubicBezTo>
                <a:cubicBezTo>
                  <a:pt x="928097" y="1301775"/>
                  <a:pt x="909661" y="1306768"/>
                  <a:pt x="890939" y="1300431"/>
                </a:cubicBezTo>
                <a:cubicBezTo>
                  <a:pt x="868184" y="1292750"/>
                  <a:pt x="845620" y="1284493"/>
                  <a:pt x="822769" y="1277196"/>
                </a:cubicBezTo>
                <a:cubicBezTo>
                  <a:pt x="813934" y="1274410"/>
                  <a:pt x="804431" y="1273258"/>
                  <a:pt x="795212" y="1272010"/>
                </a:cubicBezTo>
                <a:cubicBezTo>
                  <a:pt x="786476" y="1270954"/>
                  <a:pt x="776010" y="1273642"/>
                  <a:pt x="769288" y="1269610"/>
                </a:cubicBezTo>
                <a:cubicBezTo>
                  <a:pt x="752005" y="1259241"/>
                  <a:pt x="734243" y="1254152"/>
                  <a:pt x="714271" y="1254152"/>
                </a:cubicBezTo>
                <a:cubicBezTo>
                  <a:pt x="706781" y="1254152"/>
                  <a:pt x="699484" y="1249831"/>
                  <a:pt x="691900" y="1249062"/>
                </a:cubicBezTo>
                <a:cubicBezTo>
                  <a:pt x="681529" y="1248103"/>
                  <a:pt x="669623" y="1245510"/>
                  <a:pt x="660598" y="1249159"/>
                </a:cubicBezTo>
                <a:cubicBezTo>
                  <a:pt x="639379" y="1257800"/>
                  <a:pt x="622193" y="1250599"/>
                  <a:pt x="603662" y="1242054"/>
                </a:cubicBezTo>
                <a:cubicBezTo>
                  <a:pt x="585418" y="1233604"/>
                  <a:pt x="566215" y="1226884"/>
                  <a:pt x="546821" y="1221314"/>
                </a:cubicBezTo>
                <a:cubicBezTo>
                  <a:pt x="539524" y="1219298"/>
                  <a:pt x="530787" y="1222659"/>
                  <a:pt x="522721" y="1223330"/>
                </a:cubicBezTo>
                <a:cubicBezTo>
                  <a:pt x="519840" y="1223523"/>
                  <a:pt x="516671" y="1223811"/>
                  <a:pt x="514080" y="1222851"/>
                </a:cubicBezTo>
                <a:cubicBezTo>
                  <a:pt x="489020" y="1213633"/>
                  <a:pt x="463575" y="1206624"/>
                  <a:pt x="436404" y="1211424"/>
                </a:cubicBezTo>
                <a:cubicBezTo>
                  <a:pt x="433908" y="1211905"/>
                  <a:pt x="431123" y="1210849"/>
                  <a:pt x="428626" y="1210177"/>
                </a:cubicBezTo>
                <a:cubicBezTo>
                  <a:pt x="416432" y="1206720"/>
                  <a:pt x="404526" y="1201247"/>
                  <a:pt x="392141" y="1199999"/>
                </a:cubicBezTo>
                <a:cubicBezTo>
                  <a:pt x="361608" y="1196927"/>
                  <a:pt x="330884" y="1195678"/>
                  <a:pt x="300157" y="1193662"/>
                </a:cubicBezTo>
                <a:cubicBezTo>
                  <a:pt x="298237" y="1193566"/>
                  <a:pt x="296221" y="1193566"/>
                  <a:pt x="294493" y="1192894"/>
                </a:cubicBezTo>
                <a:cubicBezTo>
                  <a:pt x="283163" y="1188765"/>
                  <a:pt x="273274" y="1190110"/>
                  <a:pt x="263671" y="1197982"/>
                </a:cubicBezTo>
                <a:cubicBezTo>
                  <a:pt x="259447" y="1201439"/>
                  <a:pt x="253686" y="1203263"/>
                  <a:pt x="248406" y="1205184"/>
                </a:cubicBezTo>
                <a:cubicBezTo>
                  <a:pt x="240628" y="1208065"/>
                  <a:pt x="232659" y="1210849"/>
                  <a:pt x="224594" y="1212673"/>
                </a:cubicBezTo>
                <a:cubicBezTo>
                  <a:pt x="216624" y="1214401"/>
                  <a:pt x="208079" y="1216801"/>
                  <a:pt x="200398" y="1215458"/>
                </a:cubicBezTo>
                <a:cubicBezTo>
                  <a:pt x="186572" y="1213057"/>
                  <a:pt x="173417" y="1207681"/>
                  <a:pt x="159783" y="1204127"/>
                </a:cubicBezTo>
                <a:cubicBezTo>
                  <a:pt x="155079" y="1202879"/>
                  <a:pt x="149893" y="1203072"/>
                  <a:pt x="144997" y="1202975"/>
                </a:cubicBezTo>
                <a:cubicBezTo>
                  <a:pt x="133763" y="1202688"/>
                  <a:pt x="122241" y="1205472"/>
                  <a:pt x="112064" y="1197503"/>
                </a:cubicBezTo>
                <a:cubicBezTo>
                  <a:pt x="102655" y="1190014"/>
                  <a:pt x="93148" y="1192221"/>
                  <a:pt x="83259" y="1197887"/>
                </a:cubicBezTo>
                <a:cubicBezTo>
                  <a:pt x="76154" y="1201920"/>
                  <a:pt x="68090" y="1205088"/>
                  <a:pt x="60120" y="1206624"/>
                </a:cubicBezTo>
                <a:cubicBezTo>
                  <a:pt x="49174" y="1208736"/>
                  <a:pt x="38324" y="1209601"/>
                  <a:pt x="26514" y="1208352"/>
                </a:cubicBezTo>
                <a:cubicBezTo>
                  <a:pt x="18161" y="1207488"/>
                  <a:pt x="11343" y="1207104"/>
                  <a:pt x="4814" y="1202015"/>
                </a:cubicBezTo>
                <a:cubicBezTo>
                  <a:pt x="3759" y="1201247"/>
                  <a:pt x="1839" y="1201055"/>
                  <a:pt x="398" y="1201152"/>
                </a:cubicBezTo>
                <a:lnTo>
                  <a:pt x="0" y="1201150"/>
                </a:lnTo>
                <a:lnTo>
                  <a:pt x="0" y="1004512"/>
                </a:lnTo>
                <a:lnTo>
                  <a:pt x="30355" y="1002784"/>
                </a:lnTo>
                <a:cubicBezTo>
                  <a:pt x="37748" y="1002111"/>
                  <a:pt x="44853" y="999520"/>
                  <a:pt x="52151" y="997695"/>
                </a:cubicBezTo>
                <a:cubicBezTo>
                  <a:pt x="56183" y="996639"/>
                  <a:pt x="60504" y="993855"/>
                  <a:pt x="64248" y="994430"/>
                </a:cubicBezTo>
                <a:cubicBezTo>
                  <a:pt x="85948" y="997791"/>
                  <a:pt x="105823" y="989534"/>
                  <a:pt x="126370" y="985405"/>
                </a:cubicBezTo>
                <a:cubicBezTo>
                  <a:pt x="135876" y="983485"/>
                  <a:pt x="144805" y="978876"/>
                  <a:pt x="154022" y="975708"/>
                </a:cubicBezTo>
                <a:cubicBezTo>
                  <a:pt x="156423" y="974843"/>
                  <a:pt x="159111" y="974075"/>
                  <a:pt x="161512" y="974268"/>
                </a:cubicBezTo>
                <a:cubicBezTo>
                  <a:pt x="175242" y="975420"/>
                  <a:pt x="188876" y="977052"/>
                  <a:pt x="202510" y="978300"/>
                </a:cubicBezTo>
                <a:cubicBezTo>
                  <a:pt x="214896" y="979452"/>
                  <a:pt x="227378" y="979836"/>
                  <a:pt x="233235" y="993950"/>
                </a:cubicBezTo>
                <a:cubicBezTo>
                  <a:pt x="234100" y="996159"/>
                  <a:pt x="236979" y="997791"/>
                  <a:pt x="239188" y="999231"/>
                </a:cubicBezTo>
                <a:cubicBezTo>
                  <a:pt x="273274" y="1021411"/>
                  <a:pt x="291516" y="1020835"/>
                  <a:pt x="324834" y="997407"/>
                </a:cubicBezTo>
                <a:cubicBezTo>
                  <a:pt x="328290" y="995007"/>
                  <a:pt x="335683" y="993278"/>
                  <a:pt x="337987" y="995198"/>
                </a:cubicBezTo>
                <a:cubicBezTo>
                  <a:pt x="357575" y="1011137"/>
                  <a:pt x="378986" y="1009409"/>
                  <a:pt x="401550" y="1004416"/>
                </a:cubicBezTo>
                <a:cubicBezTo>
                  <a:pt x="407407" y="1003072"/>
                  <a:pt x="415664" y="1003072"/>
                  <a:pt x="420081" y="1006240"/>
                </a:cubicBezTo>
                <a:cubicBezTo>
                  <a:pt x="441108" y="1020930"/>
                  <a:pt x="463672" y="1018819"/>
                  <a:pt x="486523" y="1014498"/>
                </a:cubicBezTo>
                <a:cubicBezTo>
                  <a:pt x="490075" y="1013826"/>
                  <a:pt x="494397" y="1010177"/>
                  <a:pt x="495932" y="1006817"/>
                </a:cubicBezTo>
                <a:cubicBezTo>
                  <a:pt x="501406" y="994911"/>
                  <a:pt x="511680" y="990878"/>
                  <a:pt x="523009" y="987517"/>
                </a:cubicBezTo>
                <a:cubicBezTo>
                  <a:pt x="540868" y="982044"/>
                  <a:pt x="558438" y="975611"/>
                  <a:pt x="576393" y="970427"/>
                </a:cubicBezTo>
                <a:cubicBezTo>
                  <a:pt x="580811" y="969179"/>
                  <a:pt x="586283" y="969947"/>
                  <a:pt x="590892" y="971387"/>
                </a:cubicBezTo>
                <a:cubicBezTo>
                  <a:pt x="606638" y="976284"/>
                  <a:pt x="616624" y="988574"/>
                  <a:pt x="627569" y="999904"/>
                </a:cubicBezTo>
                <a:cubicBezTo>
                  <a:pt x="632370" y="1004897"/>
                  <a:pt x="638995" y="1008449"/>
                  <a:pt x="645429" y="1011329"/>
                </a:cubicBezTo>
                <a:cubicBezTo>
                  <a:pt x="662135" y="1018723"/>
                  <a:pt x="679226" y="1025348"/>
                  <a:pt x="696125" y="1032356"/>
                </a:cubicBezTo>
                <a:cubicBezTo>
                  <a:pt x="697757" y="1033029"/>
                  <a:pt x="699100" y="1034757"/>
                  <a:pt x="700349" y="1036197"/>
                </a:cubicBezTo>
                <a:cubicBezTo>
                  <a:pt x="712831" y="1051368"/>
                  <a:pt x="725216" y="1066634"/>
                  <a:pt x="737795" y="1081804"/>
                </a:cubicBezTo>
                <a:cubicBezTo>
                  <a:pt x="740195" y="1084684"/>
                  <a:pt x="743652" y="1086797"/>
                  <a:pt x="746244" y="1089581"/>
                </a:cubicBezTo>
                <a:cubicBezTo>
                  <a:pt x="749893" y="1093422"/>
                  <a:pt x="754502" y="1097071"/>
                  <a:pt x="756422" y="1101680"/>
                </a:cubicBezTo>
                <a:cubicBezTo>
                  <a:pt x="762374" y="1116177"/>
                  <a:pt x="773801" y="1122419"/>
                  <a:pt x="788202" y="1125108"/>
                </a:cubicBezTo>
                <a:cubicBezTo>
                  <a:pt x="801357" y="1127603"/>
                  <a:pt x="814511" y="1129716"/>
                  <a:pt x="827569" y="1132596"/>
                </a:cubicBezTo>
                <a:cubicBezTo>
                  <a:pt x="843507" y="1136053"/>
                  <a:pt x="859350" y="1139798"/>
                  <a:pt x="875097" y="1144022"/>
                </a:cubicBezTo>
                <a:cubicBezTo>
                  <a:pt x="881913" y="1145847"/>
                  <a:pt x="889115" y="1147959"/>
                  <a:pt x="894972" y="1151704"/>
                </a:cubicBezTo>
                <a:cubicBezTo>
                  <a:pt x="911390" y="1162073"/>
                  <a:pt x="928961" y="1169082"/>
                  <a:pt x="948260" y="1166298"/>
                </a:cubicBezTo>
                <a:cubicBezTo>
                  <a:pt x="963718" y="1164089"/>
                  <a:pt x="976680" y="1169754"/>
                  <a:pt x="986282" y="1178588"/>
                </a:cubicBezTo>
                <a:cubicBezTo>
                  <a:pt x="1003757" y="1194623"/>
                  <a:pt x="1022479" y="1190973"/>
                  <a:pt x="1041107" y="1185789"/>
                </a:cubicBezTo>
                <a:cubicBezTo>
                  <a:pt x="1050708" y="1183101"/>
                  <a:pt x="1058581" y="1183485"/>
                  <a:pt x="1067703" y="1186076"/>
                </a:cubicBezTo>
                <a:cubicBezTo>
                  <a:pt x="1088826" y="1192126"/>
                  <a:pt x="1102941" y="1208544"/>
                  <a:pt x="1116574" y="1222946"/>
                </a:cubicBezTo>
                <a:cubicBezTo>
                  <a:pt x="1128193" y="1235236"/>
                  <a:pt x="1141251" y="1242149"/>
                  <a:pt x="1155557" y="1247335"/>
                </a:cubicBezTo>
                <a:cubicBezTo>
                  <a:pt x="1173608" y="1253959"/>
                  <a:pt x="1187914" y="1251464"/>
                  <a:pt x="1196556" y="1235525"/>
                </a:cubicBezTo>
                <a:cubicBezTo>
                  <a:pt x="1198956" y="1231012"/>
                  <a:pt x="1203180" y="1225730"/>
                  <a:pt x="1207693" y="1224387"/>
                </a:cubicBezTo>
                <a:cubicBezTo>
                  <a:pt x="1229488" y="1217666"/>
                  <a:pt x="1251572" y="1207872"/>
                  <a:pt x="1274904" y="1213826"/>
                </a:cubicBezTo>
                <a:cubicBezTo>
                  <a:pt x="1307165" y="1221987"/>
                  <a:pt x="1338658" y="1221507"/>
                  <a:pt x="1370919" y="1213442"/>
                </a:cubicBezTo>
                <a:cubicBezTo>
                  <a:pt x="1423247" y="1200383"/>
                  <a:pt x="1475575" y="1186557"/>
                  <a:pt x="1530593" y="1189437"/>
                </a:cubicBezTo>
                <a:cubicBezTo>
                  <a:pt x="1539713" y="1189917"/>
                  <a:pt x="1550563" y="1184060"/>
                  <a:pt x="1558436" y="1178299"/>
                </a:cubicBezTo>
                <a:cubicBezTo>
                  <a:pt x="1573511" y="1167354"/>
                  <a:pt x="1572838" y="1166489"/>
                  <a:pt x="1589737" y="1175515"/>
                </a:cubicBezTo>
                <a:cubicBezTo>
                  <a:pt x="1593770" y="1177724"/>
                  <a:pt x="1598763" y="1179068"/>
                  <a:pt x="1601740" y="1182333"/>
                </a:cubicBezTo>
                <a:cubicBezTo>
                  <a:pt x="1616909" y="1198943"/>
                  <a:pt x="1635633" y="1194910"/>
                  <a:pt x="1654259" y="1192510"/>
                </a:cubicBezTo>
                <a:cubicBezTo>
                  <a:pt x="1657524" y="1192030"/>
                  <a:pt x="1661460" y="1191358"/>
                  <a:pt x="1664246" y="1192702"/>
                </a:cubicBezTo>
                <a:cubicBezTo>
                  <a:pt x="1676823" y="1198750"/>
                  <a:pt x="1687481" y="1196639"/>
                  <a:pt x="1698427" y="1188381"/>
                </a:cubicBezTo>
                <a:cubicBezTo>
                  <a:pt x="1707932" y="1181276"/>
                  <a:pt x="1718878" y="1177052"/>
                  <a:pt x="1730112" y="1185885"/>
                </a:cubicBezTo>
                <a:cubicBezTo>
                  <a:pt x="1755076" y="1205472"/>
                  <a:pt x="1781767" y="1206432"/>
                  <a:pt x="1809996" y="1194046"/>
                </a:cubicBezTo>
                <a:cubicBezTo>
                  <a:pt x="1830159" y="1185213"/>
                  <a:pt x="1850034" y="1183196"/>
                  <a:pt x="1871254" y="1192126"/>
                </a:cubicBezTo>
                <a:cubicBezTo>
                  <a:pt x="1879415" y="1195582"/>
                  <a:pt x="1889977" y="1193278"/>
                  <a:pt x="1899482" y="1194046"/>
                </a:cubicBezTo>
                <a:cubicBezTo>
                  <a:pt x="1904859" y="1194430"/>
                  <a:pt x="1910813" y="1194526"/>
                  <a:pt x="1915420" y="1196927"/>
                </a:cubicBezTo>
                <a:cubicBezTo>
                  <a:pt x="1927711" y="1203072"/>
                  <a:pt x="1939136" y="1210945"/>
                  <a:pt x="1951522" y="1216994"/>
                </a:cubicBezTo>
                <a:cubicBezTo>
                  <a:pt x="1957475" y="1219874"/>
                  <a:pt x="1964580" y="1221410"/>
                  <a:pt x="1971302" y="1221507"/>
                </a:cubicBezTo>
                <a:cubicBezTo>
                  <a:pt x="1991177" y="1221987"/>
                  <a:pt x="2011052" y="1221987"/>
                  <a:pt x="2030831" y="1221123"/>
                </a:cubicBezTo>
                <a:cubicBezTo>
                  <a:pt x="2063476" y="1219778"/>
                  <a:pt x="2096601" y="1219490"/>
                  <a:pt x="2120125" y="1190878"/>
                </a:cubicBezTo>
                <a:cubicBezTo>
                  <a:pt x="2122046" y="1188573"/>
                  <a:pt x="2126174" y="1187229"/>
                  <a:pt x="2129439" y="1186845"/>
                </a:cubicBezTo>
                <a:cubicBezTo>
                  <a:pt x="2144513" y="1185021"/>
                  <a:pt x="2159971" y="1184828"/>
                  <a:pt x="2174854" y="1181852"/>
                </a:cubicBezTo>
                <a:cubicBezTo>
                  <a:pt x="2186760" y="1179452"/>
                  <a:pt x="2196650" y="1180220"/>
                  <a:pt x="2205674" y="1188669"/>
                </a:cubicBezTo>
                <a:cubicBezTo>
                  <a:pt x="2217485" y="1199807"/>
                  <a:pt x="2231887" y="1206336"/>
                  <a:pt x="2247634" y="1202784"/>
                </a:cubicBezTo>
                <a:cubicBezTo>
                  <a:pt x="2263379" y="1199327"/>
                  <a:pt x="2273749" y="1206816"/>
                  <a:pt x="2285367" y="1214594"/>
                </a:cubicBezTo>
                <a:cubicBezTo>
                  <a:pt x="2293817" y="1220258"/>
                  <a:pt x="2303418" y="1227363"/>
                  <a:pt x="2312827" y="1227939"/>
                </a:cubicBezTo>
                <a:cubicBezTo>
                  <a:pt x="2334143" y="1229187"/>
                  <a:pt x="2352482" y="1248967"/>
                  <a:pt x="2375622" y="1237733"/>
                </a:cubicBezTo>
                <a:cubicBezTo>
                  <a:pt x="2377158" y="1236965"/>
                  <a:pt x="2379942" y="1238885"/>
                  <a:pt x="2382151" y="1239365"/>
                </a:cubicBezTo>
                <a:cubicBezTo>
                  <a:pt x="2399817" y="1243014"/>
                  <a:pt x="2416428" y="1239461"/>
                  <a:pt x="2429390" y="1227459"/>
                </a:cubicBezTo>
                <a:cubicBezTo>
                  <a:pt x="2446385" y="1211809"/>
                  <a:pt x="2465203" y="1210272"/>
                  <a:pt x="2486134" y="1215362"/>
                </a:cubicBezTo>
                <a:cubicBezTo>
                  <a:pt x="2492856" y="1216994"/>
                  <a:pt x="2499577" y="1218146"/>
                  <a:pt x="2506394" y="1219490"/>
                </a:cubicBezTo>
                <a:cubicBezTo>
                  <a:pt x="2515611" y="1221410"/>
                  <a:pt x="2524925" y="1223427"/>
                  <a:pt x="2534142" y="1225347"/>
                </a:cubicBezTo>
                <a:cubicBezTo>
                  <a:pt x="2543072" y="1227268"/>
                  <a:pt x="2552962" y="1230532"/>
                  <a:pt x="2559874" y="1222275"/>
                </a:cubicBezTo>
                <a:cubicBezTo>
                  <a:pt x="2565827" y="1215169"/>
                  <a:pt x="2570052" y="1215842"/>
                  <a:pt x="2575525" y="1221987"/>
                </a:cubicBezTo>
                <a:cubicBezTo>
                  <a:pt x="2594536" y="1243494"/>
                  <a:pt x="2617580" y="1256936"/>
                  <a:pt x="2646960" y="1257896"/>
                </a:cubicBezTo>
                <a:cubicBezTo>
                  <a:pt x="2653009" y="1258088"/>
                  <a:pt x="2659154" y="1259432"/>
                  <a:pt x="2665107" y="1260873"/>
                </a:cubicBezTo>
                <a:cubicBezTo>
                  <a:pt x="2668756" y="1261736"/>
                  <a:pt x="2673173" y="1262697"/>
                  <a:pt x="2675381" y="1265290"/>
                </a:cubicBezTo>
                <a:cubicBezTo>
                  <a:pt x="2692567" y="1285068"/>
                  <a:pt x="2713979" y="1298799"/>
                  <a:pt x="2737311" y="1309841"/>
                </a:cubicBezTo>
                <a:cubicBezTo>
                  <a:pt x="2745664" y="1313777"/>
                  <a:pt x="2754594" y="1317713"/>
                  <a:pt x="2763619" y="1318866"/>
                </a:cubicBezTo>
                <a:cubicBezTo>
                  <a:pt x="2773028" y="1320018"/>
                  <a:pt x="2782917" y="1318098"/>
                  <a:pt x="2792519" y="1317041"/>
                </a:cubicBezTo>
                <a:cubicBezTo>
                  <a:pt x="2798184" y="1316466"/>
                  <a:pt x="2804713" y="1316561"/>
                  <a:pt x="2809226" y="1313777"/>
                </a:cubicBezTo>
                <a:cubicBezTo>
                  <a:pt x="2823532" y="1305039"/>
                  <a:pt x="2837358" y="1295631"/>
                  <a:pt x="2850705" y="1285452"/>
                </a:cubicBezTo>
                <a:cubicBezTo>
                  <a:pt x="2862131" y="1276715"/>
                  <a:pt x="2864435" y="1275467"/>
                  <a:pt x="2874324" y="1286413"/>
                </a:cubicBezTo>
                <a:cubicBezTo>
                  <a:pt x="2884502" y="1297647"/>
                  <a:pt x="2897176" y="1303503"/>
                  <a:pt x="2911194" y="1305903"/>
                </a:cubicBezTo>
                <a:cubicBezTo>
                  <a:pt x="2933373" y="1309648"/>
                  <a:pt x="2955745" y="1312816"/>
                  <a:pt x="2978116" y="1314641"/>
                </a:cubicBezTo>
                <a:cubicBezTo>
                  <a:pt x="2998375" y="1316273"/>
                  <a:pt x="3008073" y="1307440"/>
                  <a:pt x="3012106" y="1287373"/>
                </a:cubicBezTo>
                <a:cubicBezTo>
                  <a:pt x="3014410" y="1276235"/>
                  <a:pt x="3017387" y="1264137"/>
                  <a:pt x="3029676" y="1261161"/>
                </a:cubicBezTo>
                <a:cubicBezTo>
                  <a:pt x="3049744" y="1256360"/>
                  <a:pt x="3070579" y="1254248"/>
                  <a:pt x="3080469" y="1230724"/>
                </a:cubicBezTo>
                <a:cubicBezTo>
                  <a:pt x="3085941" y="1235909"/>
                  <a:pt x="3089302" y="1238981"/>
                  <a:pt x="3092567" y="1242054"/>
                </a:cubicBezTo>
                <a:cubicBezTo>
                  <a:pt x="3101592" y="1250599"/>
                  <a:pt x="3120314" y="1254248"/>
                  <a:pt x="3129821" y="1246855"/>
                </a:cubicBezTo>
                <a:cubicBezTo>
                  <a:pt x="3143839" y="1236101"/>
                  <a:pt x="3156705" y="1238117"/>
                  <a:pt x="3170147" y="1246471"/>
                </a:cubicBezTo>
                <a:cubicBezTo>
                  <a:pt x="3192615" y="1260297"/>
                  <a:pt x="3217674" y="1257128"/>
                  <a:pt x="3240429" y="1251559"/>
                </a:cubicBezTo>
                <a:cubicBezTo>
                  <a:pt x="3257617" y="1247430"/>
                  <a:pt x="3275956" y="1239845"/>
                  <a:pt x="3287189" y="1222466"/>
                </a:cubicBezTo>
                <a:cubicBezTo>
                  <a:pt x="3290741" y="1216898"/>
                  <a:pt x="3298711" y="1214113"/>
                  <a:pt x="3305049" y="1210465"/>
                </a:cubicBezTo>
                <a:cubicBezTo>
                  <a:pt x="3310329" y="1207488"/>
                  <a:pt x="3315898" y="1204704"/>
                  <a:pt x="3321755" y="1202784"/>
                </a:cubicBezTo>
                <a:cubicBezTo>
                  <a:pt x="3327995" y="1200671"/>
                  <a:pt x="3334909" y="1197598"/>
                  <a:pt x="3341055" y="1198463"/>
                </a:cubicBezTo>
                <a:cubicBezTo>
                  <a:pt x="3359681" y="1200959"/>
                  <a:pt x="3374467" y="1196062"/>
                  <a:pt x="3387621" y="1182140"/>
                </a:cubicBezTo>
                <a:cubicBezTo>
                  <a:pt x="3394439" y="1174939"/>
                  <a:pt x="3404520" y="1166202"/>
                  <a:pt x="3413161" y="1166105"/>
                </a:cubicBezTo>
                <a:cubicBezTo>
                  <a:pt x="3434189" y="1165818"/>
                  <a:pt x="3451663" y="1158905"/>
                  <a:pt x="3470579" y="1150647"/>
                </a:cubicBezTo>
                <a:cubicBezTo>
                  <a:pt x="3482772" y="1145366"/>
                  <a:pt x="3496598" y="1141718"/>
                  <a:pt x="3509657" y="1136821"/>
                </a:cubicBezTo>
                <a:cubicBezTo>
                  <a:pt x="3524923" y="1131060"/>
                  <a:pt x="3541534" y="1128948"/>
                  <a:pt x="3550847" y="1113009"/>
                </a:cubicBezTo>
                <a:cubicBezTo>
                  <a:pt x="3551903" y="1111281"/>
                  <a:pt x="3555072" y="1110993"/>
                  <a:pt x="3556608" y="1109361"/>
                </a:cubicBezTo>
                <a:cubicBezTo>
                  <a:pt x="3561505" y="1104368"/>
                  <a:pt x="3567842" y="1099760"/>
                  <a:pt x="3570435" y="1093710"/>
                </a:cubicBezTo>
                <a:cubicBezTo>
                  <a:pt x="3577923" y="1076044"/>
                  <a:pt x="3583780" y="1057800"/>
                  <a:pt x="3590501" y="1039846"/>
                </a:cubicBezTo>
                <a:cubicBezTo>
                  <a:pt x="3591942" y="1036005"/>
                  <a:pt x="3593285" y="1031108"/>
                  <a:pt x="3596263" y="1028900"/>
                </a:cubicBezTo>
                <a:cubicBezTo>
                  <a:pt x="3613449" y="1016226"/>
                  <a:pt x="3630925" y="1004032"/>
                  <a:pt x="3648591" y="992030"/>
                </a:cubicBezTo>
                <a:cubicBezTo>
                  <a:pt x="3655696" y="987229"/>
                  <a:pt x="3661649" y="989918"/>
                  <a:pt x="3667986" y="995487"/>
                </a:cubicBezTo>
                <a:cubicBezTo>
                  <a:pt x="3674131" y="1000768"/>
                  <a:pt x="3681717" y="1006240"/>
                  <a:pt x="3689397" y="1007585"/>
                </a:cubicBezTo>
                <a:cubicBezTo>
                  <a:pt x="3704760" y="1010177"/>
                  <a:pt x="3720698" y="1010753"/>
                  <a:pt x="3736349" y="1010753"/>
                </a:cubicBezTo>
                <a:cubicBezTo>
                  <a:pt x="3742205" y="1010753"/>
                  <a:pt x="3748446" y="1007297"/>
                  <a:pt x="3753919" y="1004513"/>
                </a:cubicBezTo>
                <a:cubicBezTo>
                  <a:pt x="3764289" y="999231"/>
                  <a:pt x="3773890" y="992126"/>
                  <a:pt x="3784643" y="987710"/>
                </a:cubicBezTo>
                <a:cubicBezTo>
                  <a:pt x="3797126" y="982621"/>
                  <a:pt x="3804615" y="974459"/>
                  <a:pt x="3808359" y="961689"/>
                </a:cubicBezTo>
                <a:cubicBezTo>
                  <a:pt x="3813929" y="942679"/>
                  <a:pt x="3827179" y="929428"/>
                  <a:pt x="3842829" y="918674"/>
                </a:cubicBezTo>
                <a:cubicBezTo>
                  <a:pt x="3862705" y="904944"/>
                  <a:pt x="3886421" y="905616"/>
                  <a:pt x="3908983" y="902256"/>
                </a:cubicBezTo>
                <a:cubicBezTo>
                  <a:pt x="3917625" y="901008"/>
                  <a:pt x="3926555" y="899951"/>
                  <a:pt x="3934428" y="896783"/>
                </a:cubicBezTo>
                <a:cubicBezTo>
                  <a:pt x="3964288" y="884877"/>
                  <a:pt x="3994149" y="873548"/>
                  <a:pt x="4026987" y="873835"/>
                </a:cubicBezTo>
                <a:cubicBezTo>
                  <a:pt x="4029674" y="873835"/>
                  <a:pt x="4032363" y="873548"/>
                  <a:pt x="4035051" y="873067"/>
                </a:cubicBezTo>
                <a:cubicBezTo>
                  <a:pt x="4058383" y="869131"/>
                  <a:pt x="4082483" y="867594"/>
                  <a:pt x="4099189" y="846664"/>
                </a:cubicBezTo>
                <a:cubicBezTo>
                  <a:pt x="4102261" y="842823"/>
                  <a:pt x="4109271" y="841671"/>
                  <a:pt x="4114647" y="840134"/>
                </a:cubicBezTo>
                <a:cubicBezTo>
                  <a:pt x="4123961" y="837638"/>
                  <a:pt x="4130203" y="832549"/>
                  <a:pt x="4133563" y="823427"/>
                </a:cubicBezTo>
                <a:cubicBezTo>
                  <a:pt x="4139229" y="807681"/>
                  <a:pt x="4145949" y="792223"/>
                  <a:pt x="4151039" y="776284"/>
                </a:cubicBezTo>
                <a:cubicBezTo>
                  <a:pt x="4154591" y="765338"/>
                  <a:pt x="4161215" y="759289"/>
                  <a:pt x="4171489" y="754776"/>
                </a:cubicBezTo>
                <a:cubicBezTo>
                  <a:pt x="4177251" y="752280"/>
                  <a:pt x="4182243" y="746808"/>
                  <a:pt x="4186372" y="741718"/>
                </a:cubicBezTo>
                <a:cubicBezTo>
                  <a:pt x="4191365" y="735573"/>
                  <a:pt x="4193957" y="727412"/>
                  <a:pt x="4199429" y="721940"/>
                </a:cubicBezTo>
                <a:cubicBezTo>
                  <a:pt x="4212775" y="708305"/>
                  <a:pt x="4216905" y="693231"/>
                  <a:pt x="4212487" y="674604"/>
                </a:cubicBezTo>
                <a:cubicBezTo>
                  <a:pt x="4208551" y="658090"/>
                  <a:pt x="4218921" y="636006"/>
                  <a:pt x="4232555" y="632645"/>
                </a:cubicBezTo>
                <a:cubicBezTo>
                  <a:pt x="4247629" y="628900"/>
                  <a:pt x="4257999" y="619684"/>
                  <a:pt x="4268657" y="609410"/>
                </a:cubicBezTo>
                <a:cubicBezTo>
                  <a:pt x="4274609" y="603649"/>
                  <a:pt x="4282963" y="598656"/>
                  <a:pt x="4291028" y="597216"/>
                </a:cubicBezTo>
                <a:cubicBezTo>
                  <a:pt x="4321657" y="591647"/>
                  <a:pt x="4350557" y="598464"/>
                  <a:pt x="4379651" y="609506"/>
                </a:cubicBezTo>
                <a:cubicBezTo>
                  <a:pt x="4398661" y="616707"/>
                  <a:pt x="4419784" y="618627"/>
                  <a:pt x="4440139" y="621507"/>
                </a:cubicBezTo>
                <a:cubicBezTo>
                  <a:pt x="4446477" y="622371"/>
                  <a:pt x="4454542" y="620452"/>
                  <a:pt x="4460015" y="616899"/>
                </a:cubicBezTo>
                <a:cubicBezTo>
                  <a:pt x="4479218" y="604609"/>
                  <a:pt x="4498325" y="591935"/>
                  <a:pt x="4516183" y="577724"/>
                </a:cubicBezTo>
                <a:cubicBezTo>
                  <a:pt x="4532795" y="564379"/>
                  <a:pt x="4551517" y="558810"/>
                  <a:pt x="4571681" y="560250"/>
                </a:cubicBezTo>
                <a:cubicBezTo>
                  <a:pt x="4586371" y="561306"/>
                  <a:pt x="4599621" y="558905"/>
                  <a:pt x="4613447" y="555257"/>
                </a:cubicBezTo>
                <a:cubicBezTo>
                  <a:pt x="4624969" y="552185"/>
                  <a:pt x="4637643" y="550072"/>
                  <a:pt x="4649355" y="551417"/>
                </a:cubicBezTo>
                <a:cubicBezTo>
                  <a:pt x="4665775" y="553337"/>
                  <a:pt x="4679313" y="550553"/>
                  <a:pt x="4692467" y="540663"/>
                </a:cubicBezTo>
                <a:cubicBezTo>
                  <a:pt x="4699476" y="535382"/>
                  <a:pt x="4708502" y="532598"/>
                  <a:pt x="4716855" y="528949"/>
                </a:cubicBezTo>
                <a:cubicBezTo>
                  <a:pt x="4729721" y="523284"/>
                  <a:pt x="4743067" y="518483"/>
                  <a:pt x="4755645" y="512147"/>
                </a:cubicBezTo>
                <a:cubicBezTo>
                  <a:pt x="4769183" y="505425"/>
                  <a:pt x="4781569" y="496112"/>
                  <a:pt x="4795395" y="490351"/>
                </a:cubicBezTo>
                <a:cubicBezTo>
                  <a:pt x="4810278" y="484110"/>
                  <a:pt x="4819879" y="474605"/>
                  <a:pt x="4825928" y="459818"/>
                </a:cubicBezTo>
                <a:cubicBezTo>
                  <a:pt x="4829769" y="450504"/>
                  <a:pt x="4835049" y="440615"/>
                  <a:pt x="4842347" y="434086"/>
                </a:cubicBezTo>
                <a:cubicBezTo>
                  <a:pt x="4857422" y="420740"/>
                  <a:pt x="4875087" y="410370"/>
                  <a:pt x="4890451" y="397216"/>
                </a:cubicBezTo>
                <a:cubicBezTo>
                  <a:pt x="4912054" y="378781"/>
                  <a:pt x="4932025" y="359194"/>
                  <a:pt x="4933945" y="327701"/>
                </a:cubicBezTo>
                <a:cubicBezTo>
                  <a:pt x="4935001" y="310322"/>
                  <a:pt x="4944219" y="302929"/>
                  <a:pt x="4961214" y="298801"/>
                </a:cubicBezTo>
                <a:cubicBezTo>
                  <a:pt x="4966878" y="297457"/>
                  <a:pt x="4974945" y="294864"/>
                  <a:pt x="4976672" y="290639"/>
                </a:cubicBezTo>
                <a:cubicBezTo>
                  <a:pt x="4981857" y="278061"/>
                  <a:pt x="4992610" y="275565"/>
                  <a:pt x="5002979" y="270573"/>
                </a:cubicBezTo>
                <a:cubicBezTo>
                  <a:pt x="5009221" y="267596"/>
                  <a:pt x="5016903" y="261739"/>
                  <a:pt x="5018535" y="255690"/>
                </a:cubicBezTo>
                <a:cubicBezTo>
                  <a:pt x="5025255" y="231206"/>
                  <a:pt x="5043690" y="216804"/>
                  <a:pt x="5061069" y="200961"/>
                </a:cubicBezTo>
                <a:cubicBezTo>
                  <a:pt x="5066158" y="196256"/>
                  <a:pt x="5071631" y="190879"/>
                  <a:pt x="5074127" y="184735"/>
                </a:cubicBezTo>
                <a:cubicBezTo>
                  <a:pt x="5079409" y="171484"/>
                  <a:pt x="5087281" y="161882"/>
                  <a:pt x="5101108" y="156891"/>
                </a:cubicBezTo>
                <a:cubicBezTo>
                  <a:pt x="5105524" y="155354"/>
                  <a:pt x="5109557" y="151801"/>
                  <a:pt x="5112918" y="148441"/>
                </a:cubicBezTo>
                <a:cubicBezTo>
                  <a:pt x="5120119" y="141144"/>
                  <a:pt x="5126167" y="132598"/>
                  <a:pt x="5133753" y="125782"/>
                </a:cubicBezTo>
                <a:cubicBezTo>
                  <a:pt x="5153051" y="108211"/>
                  <a:pt x="5172159" y="90928"/>
                  <a:pt x="5183393" y="66348"/>
                </a:cubicBezTo>
                <a:cubicBezTo>
                  <a:pt x="5188865" y="54346"/>
                  <a:pt x="5195107" y="41288"/>
                  <a:pt x="5204709" y="33030"/>
                </a:cubicBezTo>
                <a:cubicBezTo>
                  <a:pt x="5216903" y="22565"/>
                  <a:pt x="5232937" y="16612"/>
                  <a:pt x="5247243" y="8451"/>
                </a:cubicBezTo>
                <a:close/>
              </a:path>
            </a:pathLst>
          </a:custGeom>
          <a:blipFill dpi="0" rotWithShape="1">
            <a:blip r:embed="rId2">
              <a:alphaModFix amt="57000"/>
            </a:blip>
            <a:srcRect/>
            <a:tile tx="0" ty="0" sx="100000" sy="100000" flip="none" algn="tl"/>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4390" name="Rectangle 6"/>
          <p:cNvSpPr>
            <a:spLocks noGrp="1" noChangeArrowheads="1"/>
          </p:cNvSpPr>
          <p:nvPr>
            <p:ph idx="1"/>
          </p:nvPr>
        </p:nvSpPr>
        <p:spPr>
          <a:xfrm>
            <a:off x="6099175" y="1311088"/>
            <a:ext cx="5276850" cy="4327261"/>
          </a:xfrm>
        </p:spPr>
        <p:txBody>
          <a:bodyPr>
            <a:normAutofit/>
          </a:bodyPr>
          <a:lstStyle/>
          <a:p>
            <a:pPr eaLnBrk="1" hangingPunct="1">
              <a:defRPr/>
            </a:pPr>
            <a:r>
              <a:rPr lang="fr-FR" sz="1900">
                <a:solidFill>
                  <a:schemeClr val="tx1">
                    <a:alpha val="80000"/>
                  </a:schemeClr>
                </a:solidFill>
              </a:rPr>
              <a:t>Sponsorship leverage can be defined as “the act of using collateral marketing communications to exploit the </a:t>
            </a:r>
            <a:r>
              <a:rPr lang="fr-FR" sz="1900" b="1">
                <a:solidFill>
                  <a:schemeClr val="tx1">
                    <a:alpha val="80000"/>
                  </a:schemeClr>
                </a:solidFill>
              </a:rPr>
              <a:t>commercial potential</a:t>
            </a:r>
            <a:r>
              <a:rPr lang="fr-FR" sz="1900">
                <a:solidFill>
                  <a:schemeClr val="tx1">
                    <a:alpha val="80000"/>
                  </a:schemeClr>
                </a:solidFill>
              </a:rPr>
              <a:t> of the </a:t>
            </a:r>
            <a:r>
              <a:rPr lang="fr-FR" sz="1900" b="1">
                <a:solidFill>
                  <a:schemeClr val="tx1">
                    <a:alpha val="80000"/>
                  </a:schemeClr>
                </a:solidFill>
              </a:rPr>
              <a:t>association </a:t>
            </a:r>
            <a:r>
              <a:rPr lang="fr-FR" sz="1900">
                <a:solidFill>
                  <a:schemeClr val="tx1">
                    <a:alpha val="80000"/>
                  </a:schemeClr>
                </a:solidFill>
              </a:rPr>
              <a:t>between a sponsee and sponsor.”</a:t>
            </a:r>
          </a:p>
          <a:p>
            <a:pPr eaLnBrk="1" hangingPunct="1">
              <a:defRPr/>
            </a:pPr>
            <a:endParaRPr lang="fr-FR" sz="1900">
              <a:solidFill>
                <a:schemeClr val="tx1">
                  <a:alpha val="80000"/>
                </a:schemeClr>
              </a:solidFill>
            </a:endParaRPr>
          </a:p>
          <a:p>
            <a:pPr eaLnBrk="1" hangingPunct="1">
              <a:defRPr/>
            </a:pPr>
            <a:r>
              <a:rPr lang="fr-FR" sz="1900">
                <a:solidFill>
                  <a:schemeClr val="tx1">
                    <a:alpha val="80000"/>
                  </a:schemeClr>
                </a:solidFill>
              </a:rPr>
              <a:t>Activational communications (or activation) can be described as “communications that </a:t>
            </a:r>
            <a:r>
              <a:rPr lang="fr-FR" sz="1900" b="1">
                <a:solidFill>
                  <a:schemeClr val="tx1">
                    <a:alpha val="80000"/>
                  </a:schemeClr>
                </a:solidFill>
              </a:rPr>
              <a:t>promote the</a:t>
            </a:r>
            <a:r>
              <a:rPr lang="fr-FR" sz="1900">
                <a:solidFill>
                  <a:schemeClr val="tx1">
                    <a:alpha val="80000"/>
                  </a:schemeClr>
                </a:solidFill>
              </a:rPr>
              <a:t> </a:t>
            </a:r>
            <a:r>
              <a:rPr lang="fr-FR" sz="1900" b="1">
                <a:solidFill>
                  <a:schemeClr val="tx1">
                    <a:alpha val="80000"/>
                  </a:schemeClr>
                </a:solidFill>
              </a:rPr>
              <a:t>engagement, involvement, or participation</a:t>
            </a:r>
            <a:r>
              <a:rPr lang="fr-FR" sz="1900">
                <a:solidFill>
                  <a:schemeClr val="tx1">
                    <a:alpha val="80000"/>
                  </a:schemeClr>
                </a:solidFill>
              </a:rPr>
              <a:t> of the sponsorship </a:t>
            </a:r>
            <a:r>
              <a:rPr lang="fr-FR" sz="1900" b="1">
                <a:solidFill>
                  <a:schemeClr val="tx1">
                    <a:alpha val="80000"/>
                  </a:schemeClr>
                </a:solidFill>
              </a:rPr>
              <a:t>audience</a:t>
            </a:r>
            <a:r>
              <a:rPr lang="fr-FR" sz="1900">
                <a:solidFill>
                  <a:schemeClr val="tx1">
                    <a:alpha val="80000"/>
                  </a:schemeClr>
                </a:solidFill>
              </a:rPr>
              <a:t> with the sponsor”</a:t>
            </a:r>
          </a:p>
          <a:p>
            <a:pPr eaLnBrk="1" hangingPunct="1">
              <a:defRPr/>
            </a:pPr>
            <a:endParaRPr lang="fr-FR" sz="1900">
              <a:solidFill>
                <a:schemeClr val="tx1">
                  <a:alpha val="80000"/>
                </a:schemeClr>
              </a:solidFill>
            </a:endParaRPr>
          </a:p>
          <a:p>
            <a:pPr eaLnBrk="1" hangingPunct="1">
              <a:buFont typeface="Wingdings" pitchFamily="2" charset="2"/>
              <a:buNone/>
              <a:defRPr/>
            </a:pPr>
            <a:r>
              <a:rPr lang="fr-FR" sz="1900" i="1">
                <a:solidFill>
                  <a:schemeClr val="tx1">
                    <a:alpha val="80000"/>
                  </a:schemeClr>
                </a:solidFill>
              </a:rPr>
              <a:t>(Weeks, Cornwell &amp; Drennan, Psychology &amp; Marketing, 2008)</a:t>
            </a:r>
            <a:br>
              <a:rPr lang="fr-FR" sz="1900">
                <a:solidFill>
                  <a:schemeClr val="tx1">
                    <a:alpha val="80000"/>
                  </a:schemeClr>
                </a:solidFill>
              </a:rPr>
            </a:br>
            <a:endParaRPr lang="fr-FR" sz="1900">
              <a:solidFill>
                <a:schemeClr val="tx1">
                  <a:alpha val="80000"/>
                </a:schemeClr>
              </a:solidFill>
            </a:endParaRPr>
          </a:p>
        </p:txBody>
      </p:sp>
    </p:spTree>
    <p:extLst>
      <p:ext uri="{BB962C8B-B14F-4D97-AF65-F5344CB8AC3E}">
        <p14:creationId xmlns:p14="http://schemas.microsoft.com/office/powerpoint/2010/main" val="3543193602"/>
      </p:ext>
    </p:extLst>
  </p:cSld>
  <p:clrMapOvr>
    <a:overrideClrMapping bg1="dk1" tx1="lt1" bg2="dk2" tx2="lt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0392B23F-0E8A-BF51-34AD-E541D1EAD26B}"/>
              </a:ext>
            </a:extLst>
          </p:cNvPr>
          <p:cNvPicPr>
            <a:picLocks noChangeAspect="1"/>
          </p:cNvPicPr>
          <p:nvPr/>
        </p:nvPicPr>
        <p:blipFill>
          <a:blip r:embed="rId2"/>
          <a:stretch>
            <a:fillRect/>
          </a:stretch>
        </p:blipFill>
        <p:spPr>
          <a:xfrm>
            <a:off x="0" y="9477"/>
            <a:ext cx="12192000" cy="6839045"/>
          </a:xfrm>
          <a:prstGeom prst="rect">
            <a:avLst/>
          </a:prstGeom>
        </p:spPr>
      </p:pic>
    </p:spTree>
    <p:extLst>
      <p:ext uri="{BB962C8B-B14F-4D97-AF65-F5344CB8AC3E}">
        <p14:creationId xmlns:p14="http://schemas.microsoft.com/office/powerpoint/2010/main" val="391473805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The Role of CRM in Sponsorship">
            <a:hlinkClick r:id="" action="ppaction://media"/>
          </p:cNvPr>
          <p:cNvPicPr>
            <a:picLocks noChangeAspect="1"/>
          </p:cNvPicPr>
          <p:nvPr>
            <a:videoFile r:link="rId1"/>
            <p:extLst>
              <p:ext uri="{DAA4B4D4-6D71-4841-9C94-3DE7FCFB9230}">
                <p14:media xmlns:p14="http://schemas.microsoft.com/office/powerpoint/2010/main" r:embed="rId2">
                  <p14:trim end="10971.6666"/>
                </p14:media>
              </p:ext>
            </p:extLst>
          </p:nvPr>
        </p:nvPicPr>
        <p:blipFill>
          <a:blip r:embed="rId5"/>
          <a:stretch>
            <a:fillRect/>
          </a:stretch>
        </p:blipFill>
        <p:spPr>
          <a:xfrm>
            <a:off x="0" y="12032"/>
            <a:ext cx="12192000" cy="6858000"/>
          </a:xfrm>
          <a:prstGeom prst="rect">
            <a:avLst/>
          </a:prstGeom>
        </p:spPr>
      </p:pic>
    </p:spTree>
    <p:extLst>
      <p:ext uri="{BB962C8B-B14F-4D97-AF65-F5344CB8AC3E}">
        <p14:creationId xmlns:p14="http://schemas.microsoft.com/office/powerpoint/2010/main" val="1529667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8255"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1130331" y="953368"/>
            <a:ext cx="10058400" cy="4023360"/>
          </a:xfrm>
        </p:spPr>
        <p:txBody>
          <a:bodyPr>
            <a:normAutofit/>
          </a:bodyPr>
          <a:lstStyle/>
          <a:p>
            <a:pPr algn="ctr"/>
            <a:r>
              <a:rPr lang="fr-FR" sz="4400" b="1" dirty="0">
                <a:solidFill>
                  <a:schemeClr val="bg1"/>
                </a:solidFill>
              </a:rPr>
              <a:t>ACTIVATION</a:t>
            </a:r>
          </a:p>
          <a:p>
            <a:pPr algn="ctr"/>
            <a:r>
              <a:rPr lang="fr-FR" sz="4400" b="1" dirty="0">
                <a:solidFill>
                  <a:schemeClr val="bg1"/>
                </a:solidFill>
              </a:rPr>
              <a:t>« </a:t>
            </a:r>
            <a:r>
              <a:rPr lang="fr-FR" sz="4400" b="1" dirty="0" err="1">
                <a:solidFill>
                  <a:schemeClr val="bg1"/>
                </a:solidFill>
              </a:rPr>
              <a:t>Connect</a:t>
            </a:r>
            <a:r>
              <a:rPr lang="fr-FR" sz="4400" b="1" dirty="0">
                <a:solidFill>
                  <a:schemeClr val="bg1"/>
                </a:solidFill>
              </a:rPr>
              <a:t> the fans to the brands »</a:t>
            </a:r>
          </a:p>
        </p:txBody>
      </p:sp>
    </p:spTree>
    <p:extLst>
      <p:ext uri="{BB962C8B-B14F-4D97-AF65-F5344CB8AC3E}">
        <p14:creationId xmlns:p14="http://schemas.microsoft.com/office/powerpoint/2010/main" val="408528926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2" descr="Which of the following marketing communications channels do you use to leverage your sponsorship programs"/>
          <p:cNvPicPr>
            <a:picLocks noChangeAspect="1" noChangeArrowheads="1"/>
          </p:cNvPicPr>
          <p:nvPr/>
        </p:nvPicPr>
        <p:blipFill rotWithShape="1">
          <a:blip r:embed="rId2">
            <a:extLst>
              <a:ext uri="{28A0092B-C50C-407E-A947-70E740481C1C}">
                <a14:useLocalDpi xmlns:a14="http://schemas.microsoft.com/office/drawing/2010/main" val="0"/>
              </a:ext>
            </a:extLst>
          </a:blip>
          <a:srcRect t="10781" b="22309"/>
          <a:stretch/>
        </p:blipFill>
        <p:spPr bwMode="auto">
          <a:xfrm>
            <a:off x="-32" y="10"/>
            <a:ext cx="12192031" cy="491506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1065197" y="5120640"/>
            <a:ext cx="10058400" cy="822960"/>
          </a:xfrm>
          <a:prstGeom prst="rect">
            <a:avLst/>
          </a:prstGeom>
        </p:spPr>
        <p:txBody>
          <a:bodyPr vert="horz" lIns="91440" tIns="45720" rIns="91440" bIns="45720" rtlCol="0" anchor="b">
            <a:normAutofit/>
          </a:bodyPr>
          <a:lstStyle/>
          <a:p>
            <a:pPr defTabSz="914400">
              <a:lnSpc>
                <a:spcPct val="85000"/>
              </a:lnSpc>
              <a:spcBef>
                <a:spcPct val="0"/>
              </a:spcBef>
              <a:spcAft>
                <a:spcPts val="600"/>
              </a:spcAft>
            </a:pPr>
            <a:r>
              <a:rPr lang="en-US" sz="2600" b="1" spc="-50">
                <a:solidFill>
                  <a:srgbClr val="FFFFFF"/>
                </a:solidFill>
                <a:latin typeface="+mj-lt"/>
                <a:ea typeface="+mj-ea"/>
                <a:cs typeface="+mj-cs"/>
              </a:rPr>
              <a:t>Which of the following marketing communications channels do you use to leverage your sponsorship programs ?</a:t>
            </a:r>
          </a:p>
        </p:txBody>
      </p:sp>
    </p:spTree>
    <p:extLst>
      <p:ext uri="{BB962C8B-B14F-4D97-AF65-F5344CB8AC3E}">
        <p14:creationId xmlns:p14="http://schemas.microsoft.com/office/powerpoint/2010/main" val="339743710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5069940" y="365124"/>
            <a:ext cx="6172200" cy="1828800"/>
          </a:xfrm>
        </p:spPr>
        <p:txBody>
          <a:bodyPr vert="horz" lIns="91440" tIns="45720" rIns="91440" bIns="45720" rtlCol="0">
            <a:normAutofit/>
          </a:bodyPr>
          <a:lstStyle/>
          <a:p>
            <a:r>
              <a:rPr lang="en-US" b="1"/>
              <a:t>Promotional strategy</a:t>
            </a:r>
          </a:p>
        </p:txBody>
      </p:sp>
      <p:pic>
        <p:nvPicPr>
          <p:cNvPr id="21" name="Espace réservé du contenu 20"/>
          <p:cNvPicPr>
            <a:picLocks noChangeAspect="1"/>
          </p:cNvPicPr>
          <p:nvPr/>
        </p:nvPicPr>
        <p:blipFill rotWithShape="1">
          <a:blip r:embed="rId2">
            <a:extLst>
              <a:ext uri="{28A0092B-C50C-407E-A947-70E740481C1C}">
                <a14:useLocalDpi xmlns:a14="http://schemas.microsoft.com/office/drawing/2010/main" val="0"/>
              </a:ext>
            </a:extLst>
          </a:blip>
          <a:srcRect r="509"/>
          <a:stretch/>
        </p:blipFill>
        <p:spPr>
          <a:xfrm>
            <a:off x="20" y="10"/>
            <a:ext cx="4639713" cy="6857990"/>
          </a:xfrm>
          <a:prstGeom prst="rect">
            <a:avLst/>
          </a:prstGeom>
          <a:solidFill>
            <a:srgbClr val="FFFFFF">
              <a:shade val="85000"/>
            </a:srgbClr>
          </a:solidFill>
          <a:scene3d>
            <a:camera prst="orthographicFront">
              <a:rot lat="0" lon="0" rev="360000"/>
            </a:camera>
            <a:lightRig rig="twoPt" dir="t">
              <a:rot lat="0" lon="0" rev="7200000"/>
            </a:lightRig>
          </a:scene3d>
          <a:sp3d contourW="12700">
            <a:bevelT w="25400" h="19050"/>
            <a:contourClr>
              <a:srgbClr val="969696"/>
            </a:contourClr>
          </a:sp3d>
        </p:spPr>
      </p:pic>
      <p:sp>
        <p:nvSpPr>
          <p:cNvPr id="26" name="Content Placeholder 25">
            <a:extLst>
              <a:ext uri="{FF2B5EF4-FFF2-40B4-BE49-F238E27FC236}">
                <a16:creationId xmlns:a16="http://schemas.microsoft.com/office/drawing/2014/main" id="{1B614E05-0648-4F5A-88FC-C51283F5CF01}"/>
              </a:ext>
            </a:extLst>
          </p:cNvPr>
          <p:cNvSpPr>
            <a:spLocks noGrp="1"/>
          </p:cNvSpPr>
          <p:nvPr>
            <p:ph idx="1"/>
          </p:nvPr>
        </p:nvSpPr>
        <p:spPr>
          <a:xfrm>
            <a:off x="5069940" y="2322576"/>
            <a:ext cx="6172200" cy="3858768"/>
          </a:xfrm>
        </p:spPr>
        <p:txBody>
          <a:bodyPr vert="horz" lIns="91440" tIns="45720" rIns="91440" bIns="45720" rtlCol="0">
            <a:normAutofit/>
          </a:bodyPr>
          <a:lstStyle/>
          <a:p>
            <a:pPr marL="0" indent="0">
              <a:buNone/>
            </a:pPr>
            <a:r>
              <a:rPr lang="en-US" sz="2400" b="1" cap="all" spc="200">
                <a:latin typeface="+mj-lt"/>
              </a:rPr>
              <a:t>Any form of communication used to inform, persuade or remind about company products and services (Keller)</a:t>
            </a:r>
          </a:p>
        </p:txBody>
      </p:sp>
    </p:spTree>
    <p:extLst>
      <p:ext uri="{BB962C8B-B14F-4D97-AF65-F5344CB8AC3E}">
        <p14:creationId xmlns:p14="http://schemas.microsoft.com/office/powerpoint/2010/main" val="596739322"/>
      </p:ext>
    </p:extLst>
  </p:cSld>
  <p:clrMapOvr>
    <a:overrideClrMapping bg1="dk1" tx1="lt1" bg2="dk2" tx2="lt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a:xfrm>
            <a:off x="2341084" y="277814"/>
            <a:ext cx="8229600" cy="414337"/>
          </a:xfrm>
        </p:spPr>
        <p:txBody>
          <a:bodyPr>
            <a:normAutofit fontScale="90000"/>
          </a:bodyPr>
          <a:lstStyle/>
          <a:p>
            <a:pPr algn="ctr"/>
            <a:r>
              <a:rPr lang="fr-FR" sz="4000" b="1" dirty="0"/>
              <a:t>Activation axis</a:t>
            </a:r>
          </a:p>
        </p:txBody>
      </p:sp>
      <p:sp>
        <p:nvSpPr>
          <p:cNvPr id="5" name="AutoShape 3"/>
          <p:cNvSpPr>
            <a:spLocks noChangeArrowheads="1"/>
          </p:cNvSpPr>
          <p:nvPr/>
        </p:nvSpPr>
        <p:spPr bwMode="auto">
          <a:xfrm rot="10800000">
            <a:off x="2423634" y="1124744"/>
            <a:ext cx="4679950" cy="5733256"/>
          </a:xfrm>
          <a:prstGeom prst="triangle">
            <a:avLst>
              <a:gd name="adj" fmla="val 50000"/>
            </a:avLst>
          </a:prstGeom>
          <a:solidFill>
            <a:srgbClr val="99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pPr algn="ctr"/>
            <a:endParaRPr lang="fr-FR" dirty="0"/>
          </a:p>
          <a:p>
            <a:pPr algn="ctr"/>
            <a:endParaRPr lang="fr-FR" b="1" dirty="0"/>
          </a:p>
          <a:p>
            <a:pPr algn="ctr"/>
            <a:endParaRPr lang="fr-FR" b="1" dirty="0"/>
          </a:p>
          <a:p>
            <a:pPr algn="ctr"/>
            <a:endParaRPr lang="fr-FR" b="1" dirty="0"/>
          </a:p>
          <a:p>
            <a:pPr algn="ctr"/>
            <a:endParaRPr lang="fr-FR" b="1" dirty="0"/>
          </a:p>
          <a:p>
            <a:pPr algn="ctr"/>
            <a:r>
              <a:rPr lang="fr-FR" b="1" dirty="0" err="1">
                <a:solidFill>
                  <a:srgbClr val="FFC000"/>
                </a:solidFill>
              </a:rPr>
              <a:t>Visibility</a:t>
            </a:r>
            <a:endParaRPr lang="fr-FR" b="1" dirty="0">
              <a:solidFill>
                <a:srgbClr val="FFC000"/>
              </a:solidFill>
            </a:endParaRPr>
          </a:p>
          <a:p>
            <a:pPr algn="ctr"/>
            <a:endParaRPr lang="fr-FR" b="1" dirty="0">
              <a:solidFill>
                <a:srgbClr val="FFC000"/>
              </a:solidFill>
            </a:endParaRPr>
          </a:p>
          <a:p>
            <a:pPr algn="ctr"/>
            <a:endParaRPr lang="fr-FR" b="1" dirty="0">
              <a:solidFill>
                <a:srgbClr val="FFC000"/>
              </a:solidFill>
            </a:endParaRPr>
          </a:p>
          <a:p>
            <a:pPr algn="ctr"/>
            <a:r>
              <a:rPr lang="fr-FR" b="1" dirty="0" err="1">
                <a:solidFill>
                  <a:srgbClr val="FFC000"/>
                </a:solidFill>
              </a:rPr>
              <a:t>Relational</a:t>
            </a:r>
            <a:endParaRPr lang="fr-FR" b="1" dirty="0">
              <a:solidFill>
                <a:srgbClr val="FFC000"/>
              </a:solidFill>
            </a:endParaRPr>
          </a:p>
          <a:p>
            <a:pPr algn="ctr"/>
            <a:endParaRPr lang="fr-FR" b="1" dirty="0">
              <a:solidFill>
                <a:srgbClr val="FFC000"/>
              </a:solidFill>
            </a:endParaRPr>
          </a:p>
          <a:p>
            <a:pPr algn="ctr"/>
            <a:endParaRPr lang="fr-FR" b="1" dirty="0">
              <a:solidFill>
                <a:srgbClr val="FFC000"/>
              </a:solidFill>
            </a:endParaRPr>
          </a:p>
          <a:p>
            <a:pPr algn="ctr"/>
            <a:r>
              <a:rPr lang="fr-FR" b="1" dirty="0" err="1">
                <a:solidFill>
                  <a:srgbClr val="FFC000"/>
                </a:solidFill>
              </a:rPr>
              <a:t>Hospitality</a:t>
            </a:r>
            <a:endParaRPr lang="fr-FR" b="1" dirty="0">
              <a:solidFill>
                <a:srgbClr val="FFC000"/>
              </a:solidFill>
            </a:endParaRPr>
          </a:p>
          <a:p>
            <a:pPr algn="ctr"/>
            <a:endParaRPr lang="fr-FR" b="1" dirty="0">
              <a:solidFill>
                <a:srgbClr val="FFC000"/>
              </a:solidFill>
            </a:endParaRPr>
          </a:p>
          <a:p>
            <a:pPr algn="ctr"/>
            <a:endParaRPr lang="fr-FR" b="1" dirty="0">
              <a:solidFill>
                <a:srgbClr val="FFC000"/>
              </a:solidFill>
            </a:endParaRPr>
          </a:p>
          <a:p>
            <a:pPr algn="ctr"/>
            <a:endParaRPr lang="fr-FR" b="1" dirty="0">
              <a:solidFill>
                <a:srgbClr val="FFC000"/>
              </a:solidFill>
            </a:endParaRPr>
          </a:p>
          <a:p>
            <a:pPr algn="ctr"/>
            <a:r>
              <a:rPr lang="fr-FR" b="1" dirty="0">
                <a:solidFill>
                  <a:srgbClr val="FFC000"/>
                </a:solidFill>
              </a:rPr>
              <a:t>Entertainment</a:t>
            </a:r>
          </a:p>
          <a:p>
            <a:pPr algn="ctr"/>
            <a:r>
              <a:rPr lang="fr-FR" b="1" dirty="0" err="1">
                <a:solidFill>
                  <a:srgbClr val="FFC000"/>
                </a:solidFill>
              </a:rPr>
              <a:t>Experiential</a:t>
            </a:r>
            <a:endParaRPr lang="fr-FR" b="1" dirty="0">
              <a:solidFill>
                <a:srgbClr val="FFC000"/>
              </a:solidFill>
            </a:endParaRPr>
          </a:p>
        </p:txBody>
      </p:sp>
      <p:sp>
        <p:nvSpPr>
          <p:cNvPr id="6" name="WordArt 4"/>
          <p:cNvSpPr>
            <a:spLocks noChangeArrowheads="1" noChangeShapeType="1" noTextEdit="1"/>
          </p:cNvSpPr>
          <p:nvPr/>
        </p:nvSpPr>
        <p:spPr bwMode="auto">
          <a:xfrm rot="5400000">
            <a:off x="1001629" y="2006999"/>
            <a:ext cx="2088359" cy="323850"/>
          </a:xfrm>
          <a:prstGeom prst="rect">
            <a:avLst/>
          </a:prstGeom>
          <a:extLst>
            <a:ext uri="{AF507438-7753-43E0-B8FC-AC1667EBCBE1}">
              <a14:hiddenEffects xmlns:a14="http://schemas.microsoft.com/office/drawing/2010/main">
                <a:effectLst/>
              </a14:hiddenEffects>
            </a:ext>
          </a:extLst>
        </p:spPr>
        <p:txBody>
          <a:bodyPr vert="wordArtVert" wrap="none" fromWordArt="1">
            <a:prstTxWarp prst="textPlain">
              <a:avLst>
                <a:gd name="adj" fmla="val 50000"/>
              </a:avLst>
            </a:prstTxWarp>
          </a:bodyPr>
          <a:lstStyle/>
          <a:p>
            <a:pPr algn="ctr" fontAlgn="auto"/>
            <a:r>
              <a:rPr lang="fr-FR" sz="3600" kern="10" dirty="0" err="1">
                <a:ln w="9525">
                  <a:solidFill>
                    <a:srgbClr val="000000"/>
                  </a:solidFill>
                  <a:round/>
                  <a:headEnd/>
                  <a:tailEnd/>
                </a:ln>
                <a:latin typeface="Arial Black"/>
              </a:rPr>
              <a:t>classical</a:t>
            </a:r>
            <a:endParaRPr lang="fr-FR" sz="3600" kern="10" dirty="0">
              <a:ln w="9525">
                <a:solidFill>
                  <a:srgbClr val="000000"/>
                </a:solidFill>
                <a:round/>
                <a:headEnd/>
                <a:tailEnd/>
              </a:ln>
              <a:latin typeface="Arial Black"/>
            </a:endParaRPr>
          </a:p>
        </p:txBody>
      </p:sp>
      <p:sp>
        <p:nvSpPr>
          <p:cNvPr id="7" name="WordArt 5"/>
          <p:cNvSpPr>
            <a:spLocks noChangeArrowheads="1" noChangeShapeType="1" noTextEdit="1"/>
          </p:cNvSpPr>
          <p:nvPr/>
        </p:nvSpPr>
        <p:spPr bwMode="auto">
          <a:xfrm rot="5400000">
            <a:off x="897138" y="4853670"/>
            <a:ext cx="2297342" cy="323850"/>
          </a:xfrm>
          <a:prstGeom prst="rect">
            <a:avLst/>
          </a:prstGeom>
          <a:extLst>
            <a:ext uri="{AF507438-7753-43E0-B8FC-AC1667EBCBE1}">
              <a14:hiddenEffects xmlns:a14="http://schemas.microsoft.com/office/drawing/2010/main">
                <a:effectLst/>
              </a14:hiddenEffects>
            </a:ext>
          </a:extLst>
        </p:spPr>
        <p:txBody>
          <a:bodyPr vert="wordArtVert" wrap="none" fromWordArt="1">
            <a:prstTxWarp prst="textPlain">
              <a:avLst>
                <a:gd name="adj" fmla="val 50000"/>
              </a:avLst>
            </a:prstTxWarp>
          </a:bodyPr>
          <a:lstStyle/>
          <a:p>
            <a:pPr algn="ctr" fontAlgn="auto"/>
            <a:r>
              <a:rPr lang="fr-FR" sz="3600" kern="10" dirty="0" err="1">
                <a:ln w="9525">
                  <a:solidFill>
                    <a:srgbClr val="000000"/>
                  </a:solidFill>
                  <a:round/>
                  <a:headEnd/>
                  <a:tailEnd/>
                </a:ln>
                <a:latin typeface="Arial Black"/>
              </a:rPr>
              <a:t>innovationt</a:t>
            </a:r>
            <a:endParaRPr lang="fr-FR" sz="3600" kern="10" dirty="0">
              <a:ln w="9525">
                <a:solidFill>
                  <a:srgbClr val="000000"/>
                </a:solidFill>
                <a:round/>
                <a:headEnd/>
                <a:tailEnd/>
              </a:ln>
              <a:latin typeface="Arial Black"/>
            </a:endParaRPr>
          </a:p>
        </p:txBody>
      </p:sp>
      <p:sp>
        <p:nvSpPr>
          <p:cNvPr id="8" name="Line 6"/>
          <p:cNvSpPr>
            <a:spLocks noChangeShapeType="1"/>
          </p:cNvSpPr>
          <p:nvPr/>
        </p:nvSpPr>
        <p:spPr bwMode="auto">
          <a:xfrm>
            <a:off x="2352197" y="1412876"/>
            <a:ext cx="0" cy="5040313"/>
          </a:xfrm>
          <a:prstGeom prst="line">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9" name="Rectangle 7"/>
          <p:cNvSpPr>
            <a:spLocks noChangeArrowheads="1"/>
          </p:cNvSpPr>
          <p:nvPr/>
        </p:nvSpPr>
        <p:spPr bwMode="auto">
          <a:xfrm>
            <a:off x="7248047" y="981076"/>
            <a:ext cx="3600450" cy="936625"/>
          </a:xfrm>
          <a:prstGeom prst="rect">
            <a:avLst/>
          </a:prstGeom>
          <a:solidFill>
            <a:schemeClr val="tx2">
              <a:lumMod val="40000"/>
              <a:lumOff val="60000"/>
            </a:schemeClr>
          </a:solidFill>
          <a:ln w="9525">
            <a:solidFill>
              <a:schemeClr val="tx1"/>
            </a:solidFill>
            <a:miter lim="800000"/>
            <a:headEnd/>
            <a:tailEnd/>
          </a:ln>
          <a:effectLst/>
        </p:spPr>
        <p:txBody>
          <a:bodyPr wrap="none" anchor="ctr"/>
          <a:lstStyle/>
          <a:p>
            <a:pPr algn="ctr"/>
            <a:r>
              <a:rPr lang="fr-FR" b="1" dirty="0" err="1">
                <a:solidFill>
                  <a:srgbClr val="000000"/>
                </a:solidFill>
                <a:effectLst>
                  <a:outerShdw blurRad="38100" dist="38100" dir="2700000" algn="tl">
                    <a:srgbClr val="FFFFFF"/>
                  </a:outerShdw>
                </a:effectLst>
              </a:rPr>
              <a:t>Sponsorship</a:t>
            </a:r>
            <a:r>
              <a:rPr lang="fr-FR" b="1" dirty="0">
                <a:solidFill>
                  <a:srgbClr val="000000"/>
                </a:solidFill>
                <a:effectLst>
                  <a:outerShdw blurRad="38100" dist="38100" dir="2700000" algn="tl">
                    <a:srgbClr val="FFFFFF"/>
                  </a:outerShdw>
                </a:effectLst>
              </a:rPr>
              <a:t> – </a:t>
            </a:r>
          </a:p>
          <a:p>
            <a:pPr algn="ctr"/>
            <a:r>
              <a:rPr lang="fr-FR" b="1" dirty="0">
                <a:solidFill>
                  <a:srgbClr val="000000"/>
                </a:solidFill>
                <a:effectLst>
                  <a:outerShdw blurRad="38100" dist="38100" dir="2700000" algn="tl">
                    <a:srgbClr val="FFFFFF"/>
                  </a:outerShdw>
                </a:effectLst>
              </a:rPr>
              <a:t>Event Communication</a:t>
            </a:r>
            <a:endParaRPr lang="fr-FR" dirty="0">
              <a:solidFill>
                <a:srgbClr val="000000"/>
              </a:solidFill>
            </a:endParaRPr>
          </a:p>
        </p:txBody>
      </p:sp>
      <p:sp>
        <p:nvSpPr>
          <p:cNvPr id="10" name="Rectangle 8"/>
          <p:cNvSpPr>
            <a:spLocks noChangeArrowheads="1"/>
          </p:cNvSpPr>
          <p:nvPr/>
        </p:nvSpPr>
        <p:spPr bwMode="auto">
          <a:xfrm>
            <a:off x="7248047" y="2060576"/>
            <a:ext cx="3600450" cy="1152525"/>
          </a:xfrm>
          <a:prstGeom prst="rect">
            <a:avLst/>
          </a:prstGeom>
          <a:solidFill>
            <a:schemeClr val="tx2">
              <a:lumMod val="40000"/>
              <a:lumOff val="60000"/>
            </a:schemeClr>
          </a:solidFill>
          <a:ln w="9525">
            <a:solidFill>
              <a:schemeClr val="tx1"/>
            </a:solidFill>
            <a:miter lim="800000"/>
            <a:headEnd/>
            <a:tailEnd/>
          </a:ln>
          <a:effectLst/>
        </p:spPr>
        <p:txBody>
          <a:bodyPr wrap="none" anchor="ctr"/>
          <a:lstStyle/>
          <a:p>
            <a:pPr algn="ctr"/>
            <a:r>
              <a:rPr lang="fr-FR" b="1" dirty="0">
                <a:solidFill>
                  <a:srgbClr val="000000"/>
                </a:solidFill>
                <a:effectLst>
                  <a:outerShdw blurRad="38100" dist="38100" dir="2700000" algn="tl">
                    <a:srgbClr val="FFFFFF"/>
                  </a:outerShdw>
                </a:effectLst>
              </a:rPr>
              <a:t>CRM</a:t>
            </a:r>
            <a:endParaRPr lang="fr-FR" dirty="0">
              <a:solidFill>
                <a:srgbClr val="000000"/>
              </a:solidFill>
            </a:endParaRPr>
          </a:p>
        </p:txBody>
      </p:sp>
      <p:sp>
        <p:nvSpPr>
          <p:cNvPr id="11" name="Rectangle 9"/>
          <p:cNvSpPr>
            <a:spLocks noChangeArrowheads="1"/>
          </p:cNvSpPr>
          <p:nvPr/>
        </p:nvSpPr>
        <p:spPr bwMode="auto">
          <a:xfrm>
            <a:off x="7248047" y="3357564"/>
            <a:ext cx="3600450" cy="936625"/>
          </a:xfrm>
          <a:prstGeom prst="rect">
            <a:avLst/>
          </a:prstGeom>
          <a:solidFill>
            <a:schemeClr val="tx2">
              <a:lumMod val="40000"/>
              <a:lumOff val="60000"/>
            </a:schemeClr>
          </a:solidFill>
          <a:ln w="9525">
            <a:solidFill>
              <a:schemeClr val="tx1"/>
            </a:solidFill>
            <a:miter lim="800000"/>
            <a:headEnd/>
            <a:tailEnd/>
          </a:ln>
          <a:effectLst/>
        </p:spPr>
        <p:txBody>
          <a:bodyPr wrap="none" anchor="ctr"/>
          <a:lstStyle/>
          <a:p>
            <a:pPr algn="ctr"/>
            <a:r>
              <a:rPr lang="fr-FR" b="1" dirty="0">
                <a:solidFill>
                  <a:srgbClr val="000000"/>
                </a:solidFill>
                <a:effectLst>
                  <a:outerShdw blurRad="38100" dist="38100" dir="2700000" algn="tl">
                    <a:srgbClr val="FFFFFF"/>
                  </a:outerShdw>
                </a:effectLst>
              </a:rPr>
              <a:t>Services Marketing</a:t>
            </a:r>
            <a:endParaRPr lang="fr-FR" dirty="0">
              <a:solidFill>
                <a:srgbClr val="000000"/>
              </a:solidFill>
            </a:endParaRPr>
          </a:p>
        </p:txBody>
      </p:sp>
      <p:sp>
        <p:nvSpPr>
          <p:cNvPr id="12" name="Rectangle 10"/>
          <p:cNvSpPr>
            <a:spLocks noChangeArrowheads="1"/>
          </p:cNvSpPr>
          <p:nvPr/>
        </p:nvSpPr>
        <p:spPr bwMode="auto">
          <a:xfrm>
            <a:off x="7248047" y="4437064"/>
            <a:ext cx="3600450" cy="1368425"/>
          </a:xfrm>
          <a:prstGeom prst="rect">
            <a:avLst/>
          </a:prstGeom>
          <a:solidFill>
            <a:schemeClr val="tx2">
              <a:lumMod val="40000"/>
              <a:lumOff val="60000"/>
            </a:schemeClr>
          </a:solidFill>
          <a:ln w="9525">
            <a:solidFill>
              <a:schemeClr val="tx1"/>
            </a:solidFill>
            <a:miter lim="800000"/>
            <a:headEnd/>
            <a:tailEnd/>
          </a:ln>
          <a:effectLst/>
        </p:spPr>
        <p:txBody>
          <a:bodyPr wrap="none" anchor="ctr"/>
          <a:lstStyle/>
          <a:p>
            <a:pPr algn="ctr"/>
            <a:r>
              <a:rPr lang="fr-FR" b="1" dirty="0" err="1">
                <a:solidFill>
                  <a:srgbClr val="000000"/>
                </a:solidFill>
                <a:effectLst>
                  <a:outerShdw blurRad="38100" dist="38100" dir="2700000" algn="tl">
                    <a:srgbClr val="FFFFFF"/>
                  </a:outerShdw>
                </a:effectLst>
              </a:rPr>
              <a:t>Experiential</a:t>
            </a:r>
            <a:r>
              <a:rPr lang="fr-FR" b="1" dirty="0">
                <a:solidFill>
                  <a:srgbClr val="000000"/>
                </a:solidFill>
                <a:effectLst>
                  <a:outerShdw blurRad="38100" dist="38100" dir="2700000" algn="tl">
                    <a:srgbClr val="FFFFFF"/>
                  </a:outerShdw>
                </a:effectLst>
              </a:rPr>
              <a:t> Marketing</a:t>
            </a:r>
            <a:endParaRPr lang="fr-FR" dirty="0">
              <a:solidFill>
                <a:srgbClr val="000000"/>
              </a:solidFill>
              <a:effectLst>
                <a:outerShdw blurRad="38100" dist="38100" dir="2700000" algn="tl">
                  <a:srgbClr val="FFFFFF"/>
                </a:outerShdw>
              </a:effectLst>
            </a:endParaRPr>
          </a:p>
          <a:p>
            <a:pPr algn="ctr"/>
            <a:endParaRPr lang="fr-FR" dirty="0">
              <a:solidFill>
                <a:srgbClr val="000000"/>
              </a:solidFill>
              <a:effectLst>
                <a:outerShdw blurRad="38100" dist="38100" dir="2700000" algn="tl">
                  <a:srgbClr val="FFFFFF"/>
                </a:outerShdw>
              </a:effectLst>
            </a:endParaRPr>
          </a:p>
        </p:txBody>
      </p:sp>
      <p:sp>
        <p:nvSpPr>
          <p:cNvPr id="13" name="Line 11"/>
          <p:cNvSpPr>
            <a:spLocks noChangeShapeType="1"/>
          </p:cNvSpPr>
          <p:nvPr/>
        </p:nvSpPr>
        <p:spPr bwMode="auto">
          <a:xfrm>
            <a:off x="5303359" y="1700214"/>
            <a:ext cx="1944688"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4" name="Line 12"/>
          <p:cNvSpPr>
            <a:spLocks noChangeShapeType="1"/>
          </p:cNvSpPr>
          <p:nvPr/>
        </p:nvSpPr>
        <p:spPr bwMode="auto">
          <a:xfrm>
            <a:off x="5447822" y="2492376"/>
            <a:ext cx="1800225"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5" name="Line 13"/>
          <p:cNvSpPr>
            <a:spLocks noChangeShapeType="1"/>
          </p:cNvSpPr>
          <p:nvPr/>
        </p:nvSpPr>
        <p:spPr bwMode="auto">
          <a:xfrm>
            <a:off x="5376384" y="3644901"/>
            <a:ext cx="1871663"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6" name="Line 14"/>
          <p:cNvSpPr>
            <a:spLocks noChangeShapeType="1"/>
          </p:cNvSpPr>
          <p:nvPr/>
        </p:nvSpPr>
        <p:spPr bwMode="auto">
          <a:xfrm>
            <a:off x="5592284" y="4724401"/>
            <a:ext cx="1655763"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Tree>
    <p:extLst>
      <p:ext uri="{BB962C8B-B14F-4D97-AF65-F5344CB8AC3E}">
        <p14:creationId xmlns:p14="http://schemas.microsoft.com/office/powerpoint/2010/main" val="37224459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4"/>
          <p:cNvSpPr>
            <a:spLocks noGrp="1" noChangeArrowheads="1"/>
          </p:cNvSpPr>
          <p:nvPr>
            <p:ph type="title"/>
          </p:nvPr>
        </p:nvSpPr>
        <p:spPr>
          <a:xfrm>
            <a:off x="1966607" y="369686"/>
            <a:ext cx="8229600" cy="414338"/>
          </a:xfrm>
          <a:noFill/>
          <a:ln/>
        </p:spPr>
        <p:txBody>
          <a:bodyPr>
            <a:noAutofit/>
          </a:bodyPr>
          <a:lstStyle/>
          <a:p>
            <a:pPr algn="ctr"/>
            <a:r>
              <a:rPr lang="fr-FR" sz="4400" b="1" dirty="0"/>
              <a:t>Activation </a:t>
            </a:r>
            <a:r>
              <a:rPr lang="fr-FR" sz="4400" b="1" dirty="0" err="1"/>
              <a:t>tools</a:t>
            </a:r>
            <a:endParaRPr lang="fr-FR" sz="4400" dirty="0"/>
          </a:p>
        </p:txBody>
      </p:sp>
      <p:sp>
        <p:nvSpPr>
          <p:cNvPr id="5" name="Text Box 5"/>
          <p:cNvSpPr txBox="1">
            <a:spLocks noChangeArrowheads="1"/>
          </p:cNvSpPr>
          <p:nvPr/>
        </p:nvSpPr>
        <p:spPr bwMode="auto">
          <a:xfrm>
            <a:off x="2182507" y="6315018"/>
            <a:ext cx="129540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fr-FR" b="1" dirty="0" err="1"/>
              <a:t>Visibility</a:t>
            </a:r>
            <a:endParaRPr lang="fr-FR" b="1" dirty="0"/>
          </a:p>
        </p:txBody>
      </p:sp>
      <p:sp>
        <p:nvSpPr>
          <p:cNvPr id="6" name="Text Box 6"/>
          <p:cNvSpPr txBox="1">
            <a:spLocks noChangeArrowheads="1"/>
          </p:cNvSpPr>
          <p:nvPr/>
        </p:nvSpPr>
        <p:spPr bwMode="auto">
          <a:xfrm>
            <a:off x="4125607" y="6315018"/>
            <a:ext cx="129540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fr-FR" b="1"/>
              <a:t>Relations</a:t>
            </a:r>
          </a:p>
        </p:txBody>
      </p:sp>
      <p:sp>
        <p:nvSpPr>
          <p:cNvPr id="7" name="Text Box 7"/>
          <p:cNvSpPr txBox="1">
            <a:spLocks noChangeArrowheads="1"/>
          </p:cNvSpPr>
          <p:nvPr/>
        </p:nvSpPr>
        <p:spPr bwMode="auto">
          <a:xfrm>
            <a:off x="5782957" y="6315018"/>
            <a:ext cx="16573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fr-FR" b="1" dirty="0" err="1"/>
              <a:t>Experience</a:t>
            </a:r>
            <a:endParaRPr lang="fr-FR" b="1" dirty="0"/>
          </a:p>
        </p:txBody>
      </p:sp>
      <p:sp>
        <p:nvSpPr>
          <p:cNvPr id="8" name="Text Box 9"/>
          <p:cNvSpPr txBox="1">
            <a:spLocks noChangeArrowheads="1"/>
          </p:cNvSpPr>
          <p:nvPr/>
        </p:nvSpPr>
        <p:spPr bwMode="auto">
          <a:xfrm>
            <a:off x="7870519" y="6315018"/>
            <a:ext cx="16573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fr-FR" b="1" dirty="0"/>
              <a:t>Engagement</a:t>
            </a:r>
          </a:p>
        </p:txBody>
      </p:sp>
      <p:sp>
        <p:nvSpPr>
          <p:cNvPr id="9" name="Oval 10"/>
          <p:cNvSpPr>
            <a:spLocks noChangeArrowheads="1"/>
          </p:cNvSpPr>
          <p:nvPr/>
        </p:nvSpPr>
        <p:spPr bwMode="auto">
          <a:xfrm>
            <a:off x="1950704" y="997182"/>
            <a:ext cx="1584325" cy="649288"/>
          </a:xfrm>
          <a:prstGeom prst="ellipse">
            <a:avLst/>
          </a:prstGeom>
          <a:solidFill>
            <a:srgbClr val="0000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dirty="0" err="1">
                <a:solidFill>
                  <a:schemeClr val="bg1"/>
                </a:solidFill>
              </a:rPr>
              <a:t>Billboards</a:t>
            </a:r>
            <a:endParaRPr lang="fr-FR" dirty="0">
              <a:solidFill>
                <a:schemeClr val="bg1"/>
              </a:solidFill>
            </a:endParaRPr>
          </a:p>
        </p:txBody>
      </p:sp>
      <p:sp>
        <p:nvSpPr>
          <p:cNvPr id="10" name="Oval 11"/>
          <p:cNvSpPr>
            <a:spLocks noChangeArrowheads="1"/>
          </p:cNvSpPr>
          <p:nvPr/>
        </p:nvSpPr>
        <p:spPr bwMode="auto">
          <a:xfrm>
            <a:off x="1915921" y="1683703"/>
            <a:ext cx="1584325" cy="792163"/>
          </a:xfrm>
          <a:prstGeom prst="ellipse">
            <a:avLst/>
          </a:prstGeom>
          <a:solidFill>
            <a:srgbClr val="0000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dirty="0" err="1">
                <a:solidFill>
                  <a:schemeClr val="bg1"/>
                </a:solidFill>
              </a:rPr>
              <a:t>Printed</a:t>
            </a:r>
            <a:endParaRPr lang="fr-FR" dirty="0">
              <a:solidFill>
                <a:schemeClr val="bg1"/>
              </a:solidFill>
            </a:endParaRPr>
          </a:p>
          <a:p>
            <a:pPr algn="ctr"/>
            <a:r>
              <a:rPr lang="fr-FR" dirty="0">
                <a:solidFill>
                  <a:schemeClr val="bg1"/>
                </a:solidFill>
              </a:rPr>
              <a:t>supports</a:t>
            </a:r>
          </a:p>
        </p:txBody>
      </p:sp>
      <p:sp>
        <p:nvSpPr>
          <p:cNvPr id="11" name="Oval 12"/>
          <p:cNvSpPr>
            <a:spLocks noChangeArrowheads="1"/>
          </p:cNvSpPr>
          <p:nvPr/>
        </p:nvSpPr>
        <p:spPr bwMode="auto">
          <a:xfrm>
            <a:off x="1987358" y="3410903"/>
            <a:ext cx="1584325" cy="792163"/>
          </a:xfrm>
          <a:prstGeom prst="ellipse">
            <a:avLst/>
          </a:prstGeom>
          <a:solidFill>
            <a:srgbClr val="0000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dirty="0">
                <a:solidFill>
                  <a:schemeClr val="bg1"/>
                </a:solidFill>
              </a:rPr>
              <a:t>Media</a:t>
            </a:r>
          </a:p>
          <a:p>
            <a:pPr algn="ctr"/>
            <a:r>
              <a:rPr lang="fr-FR" dirty="0">
                <a:solidFill>
                  <a:schemeClr val="bg1"/>
                </a:solidFill>
              </a:rPr>
              <a:t>Supports</a:t>
            </a:r>
          </a:p>
        </p:txBody>
      </p:sp>
      <p:sp>
        <p:nvSpPr>
          <p:cNvPr id="12" name="Oval 13"/>
          <p:cNvSpPr>
            <a:spLocks noChangeArrowheads="1"/>
          </p:cNvSpPr>
          <p:nvPr/>
        </p:nvSpPr>
        <p:spPr bwMode="auto">
          <a:xfrm>
            <a:off x="1987358" y="4276091"/>
            <a:ext cx="1584325" cy="792162"/>
          </a:xfrm>
          <a:prstGeom prst="ellipse">
            <a:avLst/>
          </a:prstGeom>
          <a:solidFill>
            <a:srgbClr val="0000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dirty="0" err="1">
                <a:solidFill>
                  <a:schemeClr val="bg1"/>
                </a:solidFill>
              </a:rPr>
              <a:t>Human</a:t>
            </a:r>
            <a:endParaRPr lang="fr-FR" dirty="0">
              <a:solidFill>
                <a:schemeClr val="bg1"/>
              </a:solidFill>
            </a:endParaRPr>
          </a:p>
          <a:p>
            <a:pPr algn="ctr"/>
            <a:r>
              <a:rPr lang="fr-FR" dirty="0">
                <a:solidFill>
                  <a:schemeClr val="bg1"/>
                </a:solidFill>
              </a:rPr>
              <a:t>Supports</a:t>
            </a:r>
          </a:p>
        </p:txBody>
      </p:sp>
      <p:sp>
        <p:nvSpPr>
          <p:cNvPr id="13" name="Oval 15"/>
          <p:cNvSpPr>
            <a:spLocks noChangeArrowheads="1"/>
          </p:cNvSpPr>
          <p:nvPr/>
        </p:nvSpPr>
        <p:spPr bwMode="auto">
          <a:xfrm>
            <a:off x="1966607" y="5124393"/>
            <a:ext cx="1584325" cy="576262"/>
          </a:xfrm>
          <a:prstGeom prst="ellipse">
            <a:avLst/>
          </a:prstGeom>
          <a:solidFill>
            <a:srgbClr val="0000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a:solidFill>
                  <a:schemeClr val="bg1"/>
                </a:solidFill>
              </a:rPr>
              <a:t>Naming</a:t>
            </a:r>
          </a:p>
        </p:txBody>
      </p:sp>
      <p:sp>
        <p:nvSpPr>
          <p:cNvPr id="14" name="Oval 16"/>
          <p:cNvSpPr>
            <a:spLocks noChangeArrowheads="1"/>
          </p:cNvSpPr>
          <p:nvPr/>
        </p:nvSpPr>
        <p:spPr bwMode="auto">
          <a:xfrm>
            <a:off x="1966607" y="5773680"/>
            <a:ext cx="1584325" cy="576263"/>
          </a:xfrm>
          <a:prstGeom prst="ellipse">
            <a:avLst/>
          </a:prstGeom>
          <a:solidFill>
            <a:srgbClr val="0000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a:solidFill>
                  <a:schemeClr val="bg1"/>
                </a:solidFill>
              </a:rPr>
              <a:t>Branding</a:t>
            </a:r>
          </a:p>
        </p:txBody>
      </p:sp>
      <p:sp>
        <p:nvSpPr>
          <p:cNvPr id="15" name="Oval 17"/>
          <p:cNvSpPr>
            <a:spLocks noChangeArrowheads="1"/>
          </p:cNvSpPr>
          <p:nvPr/>
        </p:nvSpPr>
        <p:spPr bwMode="auto">
          <a:xfrm>
            <a:off x="1987358" y="2547303"/>
            <a:ext cx="1584325" cy="792163"/>
          </a:xfrm>
          <a:prstGeom prst="ellipse">
            <a:avLst/>
          </a:prstGeom>
          <a:solidFill>
            <a:srgbClr val="0000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dirty="0" err="1">
                <a:solidFill>
                  <a:schemeClr val="bg1"/>
                </a:solidFill>
              </a:rPr>
              <a:t>Scoring</a:t>
            </a:r>
            <a:endParaRPr lang="fr-FR" dirty="0">
              <a:solidFill>
                <a:schemeClr val="bg1"/>
              </a:solidFill>
            </a:endParaRPr>
          </a:p>
          <a:p>
            <a:pPr algn="ctr"/>
            <a:r>
              <a:rPr lang="fr-FR" dirty="0">
                <a:solidFill>
                  <a:schemeClr val="bg1"/>
                </a:solidFill>
              </a:rPr>
              <a:t>Referees</a:t>
            </a:r>
          </a:p>
        </p:txBody>
      </p:sp>
      <p:sp>
        <p:nvSpPr>
          <p:cNvPr id="16" name="Oval 18"/>
          <p:cNvSpPr>
            <a:spLocks noChangeArrowheads="1"/>
          </p:cNvSpPr>
          <p:nvPr/>
        </p:nvSpPr>
        <p:spPr bwMode="auto">
          <a:xfrm>
            <a:off x="3838269" y="2820930"/>
            <a:ext cx="1584325" cy="576263"/>
          </a:xfrm>
          <a:prstGeom prst="ellipse">
            <a:avLst/>
          </a:prstGeom>
          <a:solidFill>
            <a:srgbClr val="80008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dirty="0">
                <a:solidFill>
                  <a:schemeClr val="bg1"/>
                </a:solidFill>
              </a:rPr>
              <a:t>PR</a:t>
            </a:r>
          </a:p>
        </p:txBody>
      </p:sp>
      <p:sp>
        <p:nvSpPr>
          <p:cNvPr id="17" name="Oval 19"/>
          <p:cNvSpPr>
            <a:spLocks noChangeArrowheads="1"/>
          </p:cNvSpPr>
          <p:nvPr/>
        </p:nvSpPr>
        <p:spPr bwMode="auto">
          <a:xfrm>
            <a:off x="3765244" y="3540068"/>
            <a:ext cx="1727200" cy="936625"/>
          </a:xfrm>
          <a:prstGeom prst="ellipse">
            <a:avLst/>
          </a:prstGeom>
          <a:solidFill>
            <a:srgbClr val="80008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a:solidFill>
                  <a:schemeClr val="bg1"/>
                </a:solidFill>
              </a:rPr>
              <a:t>Web Marketing</a:t>
            </a:r>
          </a:p>
          <a:p>
            <a:pPr algn="ctr"/>
            <a:r>
              <a:rPr lang="fr-FR">
                <a:solidFill>
                  <a:schemeClr val="bg1"/>
                </a:solidFill>
              </a:rPr>
              <a:t>Web 2.0</a:t>
            </a:r>
          </a:p>
        </p:txBody>
      </p:sp>
      <p:sp>
        <p:nvSpPr>
          <p:cNvPr id="18" name="Oval 20"/>
          <p:cNvSpPr>
            <a:spLocks noChangeArrowheads="1"/>
          </p:cNvSpPr>
          <p:nvPr/>
        </p:nvSpPr>
        <p:spPr bwMode="auto">
          <a:xfrm>
            <a:off x="3836682" y="4548130"/>
            <a:ext cx="1584325" cy="792163"/>
          </a:xfrm>
          <a:prstGeom prst="ellipse">
            <a:avLst/>
          </a:prstGeom>
          <a:solidFill>
            <a:srgbClr val="80008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dirty="0">
                <a:solidFill>
                  <a:schemeClr val="bg1"/>
                </a:solidFill>
              </a:rPr>
              <a:t>Mobile</a:t>
            </a:r>
          </a:p>
          <a:p>
            <a:pPr algn="ctr"/>
            <a:r>
              <a:rPr lang="fr-FR" dirty="0" err="1">
                <a:solidFill>
                  <a:schemeClr val="bg1"/>
                </a:solidFill>
              </a:rPr>
              <a:t>Maketing</a:t>
            </a:r>
            <a:endParaRPr lang="fr-FR" dirty="0">
              <a:solidFill>
                <a:schemeClr val="bg1"/>
              </a:solidFill>
            </a:endParaRPr>
          </a:p>
        </p:txBody>
      </p:sp>
      <p:sp>
        <p:nvSpPr>
          <p:cNvPr id="19" name="Oval 21"/>
          <p:cNvSpPr>
            <a:spLocks noChangeArrowheads="1"/>
          </p:cNvSpPr>
          <p:nvPr/>
        </p:nvSpPr>
        <p:spPr bwMode="auto">
          <a:xfrm>
            <a:off x="3909707" y="5413318"/>
            <a:ext cx="1584325" cy="792162"/>
          </a:xfrm>
          <a:prstGeom prst="ellipse">
            <a:avLst/>
          </a:prstGeom>
          <a:solidFill>
            <a:srgbClr val="80008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dirty="0" err="1">
                <a:solidFill>
                  <a:schemeClr val="bg1"/>
                </a:solidFill>
              </a:rPr>
              <a:t>Seminars</a:t>
            </a:r>
            <a:endParaRPr lang="fr-FR" dirty="0">
              <a:solidFill>
                <a:schemeClr val="bg1"/>
              </a:solidFill>
            </a:endParaRPr>
          </a:p>
          <a:p>
            <a:pPr algn="ctr"/>
            <a:r>
              <a:rPr lang="fr-FR" dirty="0" err="1">
                <a:solidFill>
                  <a:schemeClr val="bg1"/>
                </a:solidFill>
              </a:rPr>
              <a:t>Conferences</a:t>
            </a:r>
            <a:endParaRPr lang="fr-FR" dirty="0">
              <a:solidFill>
                <a:schemeClr val="bg1"/>
              </a:solidFill>
            </a:endParaRPr>
          </a:p>
        </p:txBody>
      </p:sp>
      <p:sp>
        <p:nvSpPr>
          <p:cNvPr id="20" name="Oval 22"/>
          <p:cNvSpPr>
            <a:spLocks noChangeArrowheads="1"/>
          </p:cNvSpPr>
          <p:nvPr/>
        </p:nvSpPr>
        <p:spPr bwMode="auto">
          <a:xfrm>
            <a:off x="5782957" y="5413318"/>
            <a:ext cx="1584325" cy="792162"/>
          </a:xfrm>
          <a:prstGeom prst="ellipse">
            <a:avLst/>
          </a:prstGeom>
          <a:solidFill>
            <a:srgbClr val="FF99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fr-FR" dirty="0">
              <a:solidFill>
                <a:srgbClr val="000000"/>
              </a:solidFill>
            </a:endParaRPr>
          </a:p>
          <a:p>
            <a:pPr algn="ctr"/>
            <a:r>
              <a:rPr lang="fr-FR" dirty="0" err="1">
                <a:solidFill>
                  <a:srgbClr val="000000"/>
                </a:solidFill>
              </a:rPr>
              <a:t>Games</a:t>
            </a:r>
            <a:endParaRPr lang="fr-FR" dirty="0">
              <a:solidFill>
                <a:srgbClr val="000000"/>
              </a:solidFill>
            </a:endParaRPr>
          </a:p>
          <a:p>
            <a:pPr algn="ctr"/>
            <a:endParaRPr lang="fr-FR" dirty="0">
              <a:solidFill>
                <a:srgbClr val="000000"/>
              </a:solidFill>
            </a:endParaRPr>
          </a:p>
        </p:txBody>
      </p:sp>
      <p:sp>
        <p:nvSpPr>
          <p:cNvPr id="21" name="Oval 23"/>
          <p:cNvSpPr>
            <a:spLocks noChangeArrowheads="1"/>
          </p:cNvSpPr>
          <p:nvPr/>
        </p:nvSpPr>
        <p:spPr bwMode="auto">
          <a:xfrm>
            <a:off x="5782957" y="4476693"/>
            <a:ext cx="1584325" cy="792162"/>
          </a:xfrm>
          <a:prstGeom prst="ellipse">
            <a:avLst/>
          </a:prstGeom>
          <a:solidFill>
            <a:srgbClr val="FF99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dirty="0">
                <a:solidFill>
                  <a:srgbClr val="000000"/>
                </a:solidFill>
              </a:rPr>
              <a:t>Stands</a:t>
            </a:r>
          </a:p>
        </p:txBody>
      </p:sp>
      <p:sp>
        <p:nvSpPr>
          <p:cNvPr id="22" name="Oval 24"/>
          <p:cNvSpPr>
            <a:spLocks noChangeArrowheads="1"/>
          </p:cNvSpPr>
          <p:nvPr/>
        </p:nvSpPr>
        <p:spPr bwMode="auto">
          <a:xfrm>
            <a:off x="5782957" y="3540068"/>
            <a:ext cx="1584325" cy="792162"/>
          </a:xfrm>
          <a:prstGeom prst="ellipse">
            <a:avLst/>
          </a:prstGeom>
          <a:solidFill>
            <a:srgbClr val="FF99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dirty="0">
                <a:solidFill>
                  <a:srgbClr val="000000"/>
                </a:solidFill>
              </a:rPr>
              <a:t>Fans</a:t>
            </a:r>
          </a:p>
          <a:p>
            <a:pPr algn="ctr"/>
            <a:r>
              <a:rPr lang="fr-FR" sz="1400" dirty="0" err="1">
                <a:solidFill>
                  <a:srgbClr val="000000"/>
                </a:solidFill>
              </a:rPr>
              <a:t>Objects</a:t>
            </a:r>
            <a:endParaRPr lang="fr-FR" sz="1400" dirty="0">
              <a:solidFill>
                <a:srgbClr val="000000"/>
              </a:solidFill>
            </a:endParaRPr>
          </a:p>
        </p:txBody>
      </p:sp>
      <p:sp>
        <p:nvSpPr>
          <p:cNvPr id="23" name="Oval 25"/>
          <p:cNvSpPr>
            <a:spLocks noChangeArrowheads="1"/>
          </p:cNvSpPr>
          <p:nvPr/>
        </p:nvSpPr>
        <p:spPr bwMode="auto">
          <a:xfrm>
            <a:off x="7870519" y="5413318"/>
            <a:ext cx="1584325" cy="792162"/>
          </a:xfrm>
          <a:prstGeom prst="ellipse">
            <a:avLst/>
          </a:prstGeom>
          <a:solidFill>
            <a:srgbClr val="339966"/>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dirty="0"/>
              <a:t>Official</a:t>
            </a:r>
          </a:p>
          <a:p>
            <a:pPr algn="ctr"/>
            <a:r>
              <a:rPr lang="fr-FR" sz="1400" dirty="0"/>
              <a:t>Supplier</a:t>
            </a:r>
          </a:p>
        </p:txBody>
      </p:sp>
      <p:sp>
        <p:nvSpPr>
          <p:cNvPr id="24" name="Oval 26"/>
          <p:cNvSpPr>
            <a:spLocks noChangeArrowheads="1"/>
          </p:cNvSpPr>
          <p:nvPr/>
        </p:nvSpPr>
        <p:spPr bwMode="auto">
          <a:xfrm>
            <a:off x="7870519" y="4116330"/>
            <a:ext cx="1584325" cy="1152525"/>
          </a:xfrm>
          <a:prstGeom prst="ellipse">
            <a:avLst/>
          </a:prstGeom>
          <a:solidFill>
            <a:srgbClr val="339966"/>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dirty="0" err="1"/>
              <a:t>Special</a:t>
            </a:r>
            <a:r>
              <a:rPr lang="fr-FR" dirty="0"/>
              <a:t> Events</a:t>
            </a:r>
            <a:endParaRPr lang="fr-FR" sz="1400" dirty="0"/>
          </a:p>
        </p:txBody>
      </p:sp>
      <p:sp>
        <p:nvSpPr>
          <p:cNvPr id="25" name="Oval 27"/>
          <p:cNvSpPr>
            <a:spLocks noChangeArrowheads="1"/>
          </p:cNvSpPr>
          <p:nvPr/>
        </p:nvSpPr>
        <p:spPr bwMode="auto">
          <a:xfrm>
            <a:off x="7583182" y="2316105"/>
            <a:ext cx="2016125" cy="1657350"/>
          </a:xfrm>
          <a:prstGeom prst="ellipse">
            <a:avLst/>
          </a:prstGeom>
          <a:solidFill>
            <a:srgbClr val="339966"/>
          </a:solidFill>
          <a:ln w="9525">
            <a:solidFill>
              <a:srgbClr val="FF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dirty="0"/>
              <a:t>Cause </a:t>
            </a:r>
            <a:r>
              <a:rPr lang="fr-FR" dirty="0" err="1"/>
              <a:t>Related</a:t>
            </a:r>
            <a:endParaRPr lang="fr-FR" dirty="0"/>
          </a:p>
          <a:p>
            <a:pPr algn="ctr"/>
            <a:r>
              <a:rPr lang="fr-FR" dirty="0"/>
              <a:t>Marketing</a:t>
            </a:r>
          </a:p>
        </p:txBody>
      </p:sp>
      <p:pic>
        <p:nvPicPr>
          <p:cNvPr id="3" name="Image 2">
            <a:extLst>
              <a:ext uri="{FF2B5EF4-FFF2-40B4-BE49-F238E27FC236}">
                <a16:creationId xmlns:a16="http://schemas.microsoft.com/office/drawing/2014/main" id="{E3B3A3A9-F74C-4B14-9EAF-C03EA6439C39}"/>
              </a:ext>
            </a:extLst>
          </p:cNvPr>
          <p:cNvPicPr>
            <a:picLocks noChangeAspect="1"/>
          </p:cNvPicPr>
          <p:nvPr/>
        </p:nvPicPr>
        <p:blipFill>
          <a:blip r:embed="rId2"/>
          <a:stretch>
            <a:fillRect/>
          </a:stretch>
        </p:blipFill>
        <p:spPr>
          <a:xfrm>
            <a:off x="9274582" y="98307"/>
            <a:ext cx="2372056" cy="1981477"/>
          </a:xfrm>
          <a:prstGeom prst="rect">
            <a:avLst/>
          </a:prstGeom>
        </p:spPr>
      </p:pic>
    </p:spTree>
    <p:extLst>
      <p:ext uri="{BB962C8B-B14F-4D97-AF65-F5344CB8AC3E}">
        <p14:creationId xmlns:p14="http://schemas.microsoft.com/office/powerpoint/2010/main" val="15287827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0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20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0"/>
                                        <p:tgtEl>
                                          <p:spTgt spid="1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2000"/>
                                        <p:tgtEl>
                                          <p:spTgt spid="1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2000"/>
                                        <p:tgtEl>
                                          <p:spTgt spid="1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2000"/>
                                        <p:tgtEl>
                                          <p:spTgt spid="1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2000"/>
                                        <p:tgtEl>
                                          <p:spTgt spid="1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2000"/>
                                        <p:tgtEl>
                                          <p:spTgt spid="15"/>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2000"/>
                                        <p:tgtEl>
                                          <p:spTgt spid="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fade">
                                      <p:cBhvr>
                                        <p:cTn id="36" dur="2000"/>
                                        <p:tgtEl>
                                          <p:spTgt spid="16"/>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2000"/>
                                        <p:tgtEl>
                                          <p:spTgt spid="1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2000"/>
                                        <p:tgtEl>
                                          <p:spTgt spid="1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fade">
                                      <p:cBhvr>
                                        <p:cTn id="45" dur="2000"/>
                                        <p:tgtEl>
                                          <p:spTgt spid="19"/>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7"/>
                                        </p:tgtEl>
                                        <p:attrNameLst>
                                          <p:attrName>style.visibility</p:attrName>
                                        </p:attrNameLst>
                                      </p:cBhvr>
                                      <p:to>
                                        <p:strVal val="visible"/>
                                      </p:to>
                                    </p:set>
                                    <p:animEffect transition="in" filter="fade">
                                      <p:cBhvr>
                                        <p:cTn id="50" dur="2000"/>
                                        <p:tgtEl>
                                          <p:spTgt spid="7"/>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0"/>
                                        </p:tgtEl>
                                        <p:attrNameLst>
                                          <p:attrName>style.visibility</p:attrName>
                                        </p:attrNameLst>
                                      </p:cBhvr>
                                      <p:to>
                                        <p:strVal val="visible"/>
                                      </p:to>
                                    </p:set>
                                    <p:animEffect transition="in" filter="fade">
                                      <p:cBhvr>
                                        <p:cTn id="53" dur="2000"/>
                                        <p:tgtEl>
                                          <p:spTgt spid="20"/>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2000"/>
                                        <p:tgtEl>
                                          <p:spTgt spid="21"/>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2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8"/>
                                        </p:tgtEl>
                                        <p:attrNameLst>
                                          <p:attrName>style.visibility</p:attrName>
                                        </p:attrNameLst>
                                      </p:cBhvr>
                                      <p:to>
                                        <p:strVal val="visible"/>
                                      </p:to>
                                    </p:set>
                                    <p:animEffect transition="in" filter="fade">
                                      <p:cBhvr>
                                        <p:cTn id="64" dur="2000"/>
                                        <p:tgtEl>
                                          <p:spTgt spid="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3"/>
                                        </p:tgtEl>
                                        <p:attrNameLst>
                                          <p:attrName>style.visibility</p:attrName>
                                        </p:attrNameLst>
                                      </p:cBhvr>
                                      <p:to>
                                        <p:strVal val="visible"/>
                                      </p:to>
                                    </p:set>
                                    <p:animEffect transition="in" filter="fade">
                                      <p:cBhvr>
                                        <p:cTn id="67" dur="2000"/>
                                        <p:tgtEl>
                                          <p:spTgt spid="23"/>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24"/>
                                        </p:tgtEl>
                                        <p:attrNameLst>
                                          <p:attrName>style.visibility</p:attrName>
                                        </p:attrNameLst>
                                      </p:cBhvr>
                                      <p:to>
                                        <p:strVal val="visible"/>
                                      </p:to>
                                    </p:set>
                                    <p:animEffect transition="in" filter="fade">
                                      <p:cBhvr>
                                        <p:cTn id="70" dur="2000"/>
                                        <p:tgtEl>
                                          <p:spTgt spid="24"/>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25"/>
                                        </p:tgtEl>
                                        <p:attrNameLst>
                                          <p:attrName>style.visibility</p:attrName>
                                        </p:attrNameLst>
                                      </p:cBhvr>
                                      <p:to>
                                        <p:strVal val="visible"/>
                                      </p:to>
                                    </p:set>
                                    <p:animEffect transition="in" filter="fade">
                                      <p:cBhvr>
                                        <p:cTn id="73" dur="2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Lst>
  </p:timing>
</p:sld>
</file>

<file path=ppt/slides/slide46.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useBgFill="1">
        <p:nvSpPr>
          <p:cNvPr id="2" name="Titre 1">
            <a:extLst>
              <a:ext uri="{FF2B5EF4-FFF2-40B4-BE49-F238E27FC236}">
                <a16:creationId xmlns:a16="http://schemas.microsoft.com/office/drawing/2014/main" id="{FBAEA557-7F45-4710-AF58-96F228D231B8}"/>
              </a:ext>
            </a:extLst>
          </p:cNvPr>
          <p:cNvSpPr>
            <a:spLocks noGrp="1"/>
          </p:cNvSpPr>
          <p:nvPr>
            <p:ph type="title"/>
          </p:nvPr>
        </p:nvSpPr>
        <p:spPr>
          <a:xfrm>
            <a:off x="1981200" y="277814"/>
            <a:ext cx="8229600" cy="1711325"/>
          </a:xfrm>
        </p:spPr>
        <p:txBody>
          <a:bodyPr>
            <a:normAutofit/>
          </a:bodyPr>
          <a:lstStyle/>
          <a:p>
            <a:pPr algn="ctr">
              <a:defRPr/>
            </a:pPr>
            <a:r>
              <a:rPr lang="fr-FR" sz="4000" b="1" dirty="0">
                <a:solidFill>
                  <a:schemeClr val="bg1"/>
                </a:solidFill>
              </a:rPr>
              <a:t>SPORSORSHIP ACTIVATIONS MODEL </a:t>
            </a:r>
            <a:br>
              <a:rPr lang="fr-FR" sz="4000" b="1" dirty="0">
                <a:solidFill>
                  <a:schemeClr val="bg1"/>
                </a:solidFill>
              </a:rPr>
            </a:br>
            <a:r>
              <a:rPr lang="fr-FR" sz="7200" b="1" dirty="0">
                <a:solidFill>
                  <a:srgbClr val="FF0000"/>
                </a:solidFill>
              </a:rPr>
              <a:t>V R E </a:t>
            </a:r>
            <a:r>
              <a:rPr lang="fr-FR" sz="7200" b="1" dirty="0" err="1">
                <a:solidFill>
                  <a:srgbClr val="FF0000"/>
                </a:solidFill>
              </a:rPr>
              <a:t>E</a:t>
            </a:r>
            <a:r>
              <a:rPr lang="fr-FR" sz="7200" b="1" dirty="0">
                <a:solidFill>
                  <a:srgbClr val="FF0000"/>
                </a:solidFill>
              </a:rPr>
              <a:t> </a:t>
            </a:r>
            <a:endParaRPr lang="fr-FR" sz="4000" b="1" dirty="0">
              <a:solidFill>
                <a:srgbClr val="FF0000"/>
              </a:solidFill>
            </a:endParaRPr>
          </a:p>
        </p:txBody>
      </p:sp>
      <p:sp>
        <p:nvSpPr>
          <p:cNvPr id="4" name="Ellipse 3">
            <a:extLst>
              <a:ext uri="{FF2B5EF4-FFF2-40B4-BE49-F238E27FC236}">
                <a16:creationId xmlns:a16="http://schemas.microsoft.com/office/drawing/2014/main" id="{423B98EF-980B-4E73-9B51-CEF43403A17B}"/>
              </a:ext>
            </a:extLst>
          </p:cNvPr>
          <p:cNvSpPr/>
          <p:nvPr/>
        </p:nvSpPr>
        <p:spPr>
          <a:xfrm>
            <a:off x="2077675" y="2669273"/>
            <a:ext cx="1755397" cy="1453393"/>
          </a:xfrm>
          <a:prstGeom prst="ellipse">
            <a:avLst/>
          </a:prstGeom>
          <a:effectLst>
            <a:glow rad="228600">
              <a:schemeClr val="accent2">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0" fontAlgn="base" hangingPunct="0">
              <a:spcBef>
                <a:spcPct val="0"/>
              </a:spcBef>
              <a:spcAft>
                <a:spcPct val="0"/>
              </a:spcAft>
              <a:defRPr/>
            </a:pPr>
            <a:r>
              <a:rPr lang="fr-FR" sz="1100" b="1" dirty="0">
                <a:solidFill>
                  <a:srgbClr val="FFFFFF"/>
                </a:solidFill>
                <a:latin typeface="Arial"/>
              </a:rPr>
              <a:t>VISIBILITY</a:t>
            </a:r>
          </a:p>
          <a:p>
            <a:pPr algn="ctr" defTabSz="914400" eaLnBrk="0" fontAlgn="base" hangingPunct="0">
              <a:spcBef>
                <a:spcPct val="0"/>
              </a:spcBef>
              <a:spcAft>
                <a:spcPct val="0"/>
              </a:spcAft>
              <a:defRPr/>
            </a:pPr>
            <a:endParaRPr lang="fr-FR" sz="1100" b="1" dirty="0">
              <a:solidFill>
                <a:srgbClr val="FFFFFF"/>
              </a:solidFill>
              <a:latin typeface="Arial"/>
            </a:endParaRPr>
          </a:p>
          <a:p>
            <a:pPr algn="ctr" defTabSz="914400" eaLnBrk="0" fontAlgn="base" hangingPunct="0">
              <a:spcBef>
                <a:spcPct val="0"/>
              </a:spcBef>
              <a:spcAft>
                <a:spcPct val="0"/>
              </a:spcAft>
              <a:defRPr/>
            </a:pPr>
            <a:r>
              <a:rPr lang="fr-FR" sz="1100" b="1" dirty="0">
                <a:solidFill>
                  <a:srgbClr val="FFFFFF"/>
                </a:solidFill>
                <a:latin typeface="Arial"/>
              </a:rPr>
              <a:t>ROI</a:t>
            </a:r>
          </a:p>
        </p:txBody>
      </p:sp>
      <p:sp>
        <p:nvSpPr>
          <p:cNvPr id="5" name="Ellipse 4">
            <a:extLst>
              <a:ext uri="{FF2B5EF4-FFF2-40B4-BE49-F238E27FC236}">
                <a16:creationId xmlns:a16="http://schemas.microsoft.com/office/drawing/2014/main" id="{504D54D5-A692-4F80-ABB4-E69D1A806A94}"/>
              </a:ext>
            </a:extLst>
          </p:cNvPr>
          <p:cNvSpPr/>
          <p:nvPr/>
        </p:nvSpPr>
        <p:spPr>
          <a:xfrm>
            <a:off x="4061671" y="2669272"/>
            <a:ext cx="1755397" cy="1453393"/>
          </a:xfrm>
          <a:prstGeom prst="ellipse">
            <a:avLst/>
          </a:prstGeom>
          <a:effectLst>
            <a:glow rad="228600">
              <a:schemeClr val="accent2">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0" fontAlgn="base" hangingPunct="0">
              <a:spcBef>
                <a:spcPct val="0"/>
              </a:spcBef>
              <a:spcAft>
                <a:spcPct val="0"/>
              </a:spcAft>
              <a:defRPr/>
            </a:pPr>
            <a:r>
              <a:rPr lang="fr-FR" sz="1100" b="1" dirty="0">
                <a:solidFill>
                  <a:srgbClr val="FFFFFF"/>
                </a:solidFill>
                <a:latin typeface="Arial"/>
              </a:rPr>
              <a:t>RELATIONS</a:t>
            </a:r>
          </a:p>
          <a:p>
            <a:pPr algn="ctr" defTabSz="914400" eaLnBrk="0" fontAlgn="base" hangingPunct="0">
              <a:spcBef>
                <a:spcPct val="0"/>
              </a:spcBef>
              <a:spcAft>
                <a:spcPct val="0"/>
              </a:spcAft>
              <a:defRPr/>
            </a:pPr>
            <a:endParaRPr lang="fr-FR" sz="1100" b="1" dirty="0">
              <a:solidFill>
                <a:srgbClr val="FFFFFF"/>
              </a:solidFill>
              <a:latin typeface="Arial"/>
            </a:endParaRPr>
          </a:p>
          <a:p>
            <a:pPr algn="ctr" defTabSz="914400" eaLnBrk="0" fontAlgn="base" hangingPunct="0">
              <a:spcBef>
                <a:spcPct val="0"/>
              </a:spcBef>
              <a:spcAft>
                <a:spcPct val="0"/>
              </a:spcAft>
              <a:defRPr/>
            </a:pPr>
            <a:r>
              <a:rPr lang="fr-FR" sz="1100" b="1" dirty="0">
                <a:solidFill>
                  <a:srgbClr val="FFFFFF"/>
                </a:solidFill>
                <a:latin typeface="Arial"/>
              </a:rPr>
              <a:t>ROO</a:t>
            </a:r>
          </a:p>
        </p:txBody>
      </p:sp>
      <p:sp>
        <p:nvSpPr>
          <p:cNvPr id="6" name="Ellipse 5">
            <a:extLst>
              <a:ext uri="{FF2B5EF4-FFF2-40B4-BE49-F238E27FC236}">
                <a16:creationId xmlns:a16="http://schemas.microsoft.com/office/drawing/2014/main" id="{AA4BF0C4-542A-4791-946A-5845AA5FAE4B}"/>
              </a:ext>
            </a:extLst>
          </p:cNvPr>
          <p:cNvSpPr/>
          <p:nvPr/>
        </p:nvSpPr>
        <p:spPr>
          <a:xfrm>
            <a:off x="6045668" y="2669272"/>
            <a:ext cx="1755397" cy="1453393"/>
          </a:xfrm>
          <a:prstGeom prst="ellipse">
            <a:avLst/>
          </a:prstGeom>
          <a:effectLst>
            <a:glow rad="228600">
              <a:schemeClr val="accent2">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0" fontAlgn="base" hangingPunct="0">
              <a:spcBef>
                <a:spcPct val="0"/>
              </a:spcBef>
              <a:spcAft>
                <a:spcPct val="0"/>
              </a:spcAft>
              <a:defRPr/>
            </a:pPr>
            <a:r>
              <a:rPr lang="fr-FR" sz="1100" b="1" dirty="0">
                <a:solidFill>
                  <a:srgbClr val="FFFFFF"/>
                </a:solidFill>
                <a:latin typeface="Arial"/>
              </a:rPr>
              <a:t>EXPERIENCE</a:t>
            </a:r>
          </a:p>
          <a:p>
            <a:pPr algn="ctr" defTabSz="914400" eaLnBrk="0" fontAlgn="base" hangingPunct="0">
              <a:spcBef>
                <a:spcPct val="0"/>
              </a:spcBef>
              <a:spcAft>
                <a:spcPct val="0"/>
              </a:spcAft>
              <a:defRPr/>
            </a:pPr>
            <a:endParaRPr lang="fr-FR" sz="1100" b="1" dirty="0">
              <a:solidFill>
                <a:srgbClr val="FFFFFF"/>
              </a:solidFill>
              <a:latin typeface="Arial"/>
            </a:endParaRPr>
          </a:p>
          <a:p>
            <a:pPr algn="ctr" defTabSz="914400" eaLnBrk="0" fontAlgn="base" hangingPunct="0">
              <a:spcBef>
                <a:spcPct val="0"/>
              </a:spcBef>
              <a:spcAft>
                <a:spcPct val="0"/>
              </a:spcAft>
              <a:defRPr/>
            </a:pPr>
            <a:r>
              <a:rPr lang="fr-FR" sz="1100" b="1" dirty="0">
                <a:solidFill>
                  <a:srgbClr val="FFFFFF"/>
                </a:solidFill>
                <a:latin typeface="Arial"/>
              </a:rPr>
              <a:t>ROO</a:t>
            </a:r>
          </a:p>
        </p:txBody>
      </p:sp>
      <p:sp>
        <p:nvSpPr>
          <p:cNvPr id="7" name="Ellipse 6">
            <a:extLst>
              <a:ext uri="{FF2B5EF4-FFF2-40B4-BE49-F238E27FC236}">
                <a16:creationId xmlns:a16="http://schemas.microsoft.com/office/drawing/2014/main" id="{1CD068EC-57D9-4606-BCF5-5B277E798D0B}"/>
              </a:ext>
            </a:extLst>
          </p:cNvPr>
          <p:cNvSpPr/>
          <p:nvPr/>
        </p:nvSpPr>
        <p:spPr>
          <a:xfrm>
            <a:off x="8029665" y="2669272"/>
            <a:ext cx="1755397" cy="1453393"/>
          </a:xfrm>
          <a:prstGeom prst="ellipse">
            <a:avLst/>
          </a:prstGeom>
          <a:effectLst>
            <a:glow rad="228600">
              <a:schemeClr val="accent2">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0" fontAlgn="base" hangingPunct="0">
              <a:spcBef>
                <a:spcPct val="0"/>
              </a:spcBef>
              <a:spcAft>
                <a:spcPct val="0"/>
              </a:spcAft>
              <a:defRPr/>
            </a:pPr>
            <a:r>
              <a:rPr lang="fr-FR" sz="1100" b="1" dirty="0">
                <a:solidFill>
                  <a:srgbClr val="FFFFFF"/>
                </a:solidFill>
                <a:latin typeface="Arial"/>
              </a:rPr>
              <a:t>ENGAGEMENT</a:t>
            </a:r>
          </a:p>
          <a:p>
            <a:pPr algn="ctr" defTabSz="914400" eaLnBrk="0" fontAlgn="base" hangingPunct="0">
              <a:spcBef>
                <a:spcPct val="0"/>
              </a:spcBef>
              <a:spcAft>
                <a:spcPct val="0"/>
              </a:spcAft>
              <a:defRPr/>
            </a:pPr>
            <a:endParaRPr lang="fr-FR" sz="1100" b="1" dirty="0">
              <a:solidFill>
                <a:srgbClr val="FFFFFF"/>
              </a:solidFill>
              <a:latin typeface="Arial"/>
            </a:endParaRPr>
          </a:p>
          <a:p>
            <a:pPr algn="ctr" defTabSz="914400" eaLnBrk="0" fontAlgn="base" hangingPunct="0">
              <a:spcBef>
                <a:spcPct val="0"/>
              </a:spcBef>
              <a:spcAft>
                <a:spcPct val="0"/>
              </a:spcAft>
              <a:defRPr/>
            </a:pPr>
            <a:r>
              <a:rPr lang="fr-FR" sz="1100" b="1" dirty="0">
                <a:solidFill>
                  <a:srgbClr val="FFFFFF"/>
                </a:solidFill>
                <a:latin typeface="Arial"/>
              </a:rPr>
              <a:t>ROI ?</a:t>
            </a:r>
          </a:p>
        </p:txBody>
      </p:sp>
      <p:pic>
        <p:nvPicPr>
          <p:cNvPr id="9" name="Image 8">
            <a:extLst>
              <a:ext uri="{FF2B5EF4-FFF2-40B4-BE49-F238E27FC236}">
                <a16:creationId xmlns:a16="http://schemas.microsoft.com/office/drawing/2014/main" id="{8DA80CF0-9B81-43E0-8E8F-C73D1A94814D}"/>
              </a:ext>
            </a:extLst>
          </p:cNvPr>
          <p:cNvPicPr>
            <a:picLocks noChangeAspect="1"/>
          </p:cNvPicPr>
          <p:nvPr/>
        </p:nvPicPr>
        <p:blipFill>
          <a:blip r:embed="rId2"/>
          <a:stretch>
            <a:fillRect/>
          </a:stretch>
        </p:blipFill>
        <p:spPr>
          <a:xfrm>
            <a:off x="4429264" y="4365105"/>
            <a:ext cx="3728414" cy="2097233"/>
          </a:xfrm>
          <a:prstGeom prst="ellipse">
            <a:avLst/>
          </a:prstGeom>
          <a:ln>
            <a:noFill/>
          </a:ln>
          <a:effectLst>
            <a:softEdge rad="112500"/>
          </a:effectLst>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6984" name="Rectangle 126983">
            <a:extLst>
              <a:ext uri="{FF2B5EF4-FFF2-40B4-BE49-F238E27FC236}">
                <a16:creationId xmlns:a16="http://schemas.microsoft.com/office/drawing/2014/main" id="{33CD251C-A887-4D2F-925B-FC09719853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986" name="Rectangle 126985">
            <a:extLst>
              <a:ext uri="{FF2B5EF4-FFF2-40B4-BE49-F238E27FC236}">
                <a16:creationId xmlns:a16="http://schemas.microsoft.com/office/drawing/2014/main" id="{B19D093C-27FB-4032-B282-42C4563F2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9454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978" name="Rectangle 2"/>
          <p:cNvSpPr>
            <a:spLocks noGrp="1" noChangeArrowheads="1"/>
          </p:cNvSpPr>
          <p:nvPr>
            <p:ph type="title"/>
          </p:nvPr>
        </p:nvSpPr>
        <p:spPr>
          <a:xfrm>
            <a:off x="767290" y="1780661"/>
            <a:ext cx="3582073" cy="1463472"/>
          </a:xfrm>
        </p:spPr>
        <p:txBody>
          <a:bodyPr anchor="t">
            <a:normAutofit/>
          </a:bodyPr>
          <a:lstStyle/>
          <a:p>
            <a:pPr eaLnBrk="1" hangingPunct="1">
              <a:defRPr/>
            </a:pPr>
            <a:r>
              <a:rPr lang="fr-FR" b="1">
                <a:solidFill>
                  <a:schemeClr val="bg1"/>
                </a:solidFill>
              </a:rPr>
              <a:t>So what ? How to Implement ?</a:t>
            </a:r>
          </a:p>
        </p:txBody>
      </p:sp>
      <p:grpSp>
        <p:nvGrpSpPr>
          <p:cNvPr id="126988" name="Group 126987">
            <a:extLst>
              <a:ext uri="{FF2B5EF4-FFF2-40B4-BE49-F238E27FC236}">
                <a16:creationId xmlns:a16="http://schemas.microsoft.com/office/drawing/2014/main" id="{35EE815E-1BD3-4777-B652-6D98825BF66B}"/>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767290" y="681628"/>
            <a:ext cx="1128382" cy="847206"/>
            <a:chOff x="668003" y="1684057"/>
            <a:chExt cx="1128382" cy="847206"/>
          </a:xfrm>
        </p:grpSpPr>
        <p:sp>
          <p:nvSpPr>
            <p:cNvPr id="126989" name="Freeform 5">
              <a:extLst>
                <a:ext uri="{FF2B5EF4-FFF2-40B4-BE49-F238E27FC236}">
                  <a16:creationId xmlns:a16="http://schemas.microsoft.com/office/drawing/2014/main" id="{E6692982-4A7D-4392-87CD-F0CD4B027DD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68003" y="1935883"/>
              <a:ext cx="675351" cy="595380"/>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126990" name="Freeform 5">
              <a:extLst>
                <a:ext uri="{FF2B5EF4-FFF2-40B4-BE49-F238E27FC236}">
                  <a16:creationId xmlns:a16="http://schemas.microsoft.com/office/drawing/2014/main" id="{196485F7-F277-4123-AC53-98EA4C85877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245893" y="1684057"/>
              <a:ext cx="550492" cy="485306"/>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bg1"/>
              </a:solidFill>
            </a:ln>
          </p:spPr>
          <p:txBody>
            <a:bodyPr vert="horz" wrap="square" lIns="91440" tIns="45720" rIns="91440" bIns="45720" numCol="1" anchor="t" anchorCtr="0" compatLnSpc="1">
              <a:prstTxWarp prst="textNoShape">
                <a:avLst/>
              </a:prstTxWarp>
            </a:bodyPr>
            <a:lstStyle/>
            <a:p>
              <a:endParaRPr lang="en-US"/>
            </a:p>
          </p:txBody>
        </p:sp>
      </p:grpSp>
      <p:sp>
        <p:nvSpPr>
          <p:cNvPr id="126979" name="Rectangle 3"/>
          <p:cNvSpPr>
            <a:spLocks noGrp="1" noChangeArrowheads="1"/>
          </p:cNvSpPr>
          <p:nvPr>
            <p:ph idx="1"/>
          </p:nvPr>
        </p:nvSpPr>
        <p:spPr>
          <a:xfrm>
            <a:off x="767290" y="3383121"/>
            <a:ext cx="3582072" cy="2793251"/>
          </a:xfrm>
        </p:spPr>
        <p:txBody>
          <a:bodyPr anchor="t">
            <a:normAutofit/>
          </a:bodyPr>
          <a:lstStyle/>
          <a:p>
            <a:pPr eaLnBrk="1" hangingPunct="1">
              <a:buFont typeface="Wingdings" panose="05000000000000000000" pitchFamily="2" charset="2"/>
              <a:buChar char="«"/>
              <a:defRPr/>
            </a:pPr>
            <a:r>
              <a:rPr lang="fr-FR" sz="1400">
                <a:solidFill>
                  <a:schemeClr val="bg1"/>
                </a:solidFill>
              </a:rPr>
              <a:t>Back to the basics :</a:t>
            </a:r>
          </a:p>
          <a:p>
            <a:pPr eaLnBrk="1" hangingPunct="1">
              <a:buFont typeface="Wingdings" panose="05000000000000000000" pitchFamily="2" charset="2"/>
              <a:buChar char="«"/>
              <a:defRPr/>
            </a:pPr>
            <a:endParaRPr lang="fr-FR" sz="1400">
              <a:solidFill>
                <a:schemeClr val="bg1"/>
              </a:solidFill>
            </a:endParaRPr>
          </a:p>
          <a:p>
            <a:pPr eaLnBrk="1" hangingPunct="1">
              <a:buFont typeface="Wingdings" panose="05000000000000000000" pitchFamily="2" charset="2"/>
              <a:buChar char="«"/>
              <a:defRPr/>
            </a:pPr>
            <a:r>
              <a:rPr lang="fr-FR" sz="1400">
                <a:solidFill>
                  <a:schemeClr val="bg1"/>
                </a:solidFill>
              </a:rPr>
              <a:t>WHY ? : targets, visibility, value, internal communication,… [needs + sponsors goals]</a:t>
            </a:r>
          </a:p>
          <a:p>
            <a:pPr eaLnBrk="1" hangingPunct="1">
              <a:buFont typeface="Wingdings" panose="05000000000000000000" pitchFamily="2" charset="2"/>
              <a:buChar char="«"/>
              <a:defRPr/>
            </a:pPr>
            <a:endParaRPr lang="fr-FR" sz="1400">
              <a:solidFill>
                <a:schemeClr val="bg1"/>
              </a:solidFill>
            </a:endParaRPr>
          </a:p>
          <a:p>
            <a:pPr>
              <a:buFont typeface="Wingdings" panose="05000000000000000000" pitchFamily="2" charset="2"/>
              <a:buChar char="«"/>
              <a:defRPr/>
            </a:pPr>
            <a:r>
              <a:rPr lang="fr-FR" sz="1400">
                <a:solidFill>
                  <a:schemeClr val="bg1"/>
                </a:solidFill>
              </a:rPr>
              <a:t>HOW ? : activation tools panel [answer needs + objectifs]</a:t>
            </a:r>
          </a:p>
          <a:p>
            <a:pPr eaLnBrk="1" hangingPunct="1">
              <a:buFont typeface="Wingdings" panose="05000000000000000000" pitchFamily="2" charset="2"/>
              <a:buChar char="«"/>
              <a:defRPr/>
            </a:pPr>
            <a:endParaRPr lang="fr-FR" sz="1400">
              <a:solidFill>
                <a:schemeClr val="bg1"/>
              </a:solidFill>
            </a:endParaRPr>
          </a:p>
          <a:p>
            <a:pPr eaLnBrk="1" hangingPunct="1">
              <a:buFont typeface="Wingdings" panose="05000000000000000000" pitchFamily="2" charset="2"/>
              <a:buNone/>
              <a:defRPr/>
            </a:pPr>
            <a:r>
              <a:rPr lang="fr-FR" sz="1400" b="1">
                <a:solidFill>
                  <a:schemeClr val="bg1"/>
                </a:solidFill>
              </a:rPr>
              <a:t>                      = your JOB !</a:t>
            </a:r>
          </a:p>
        </p:txBody>
      </p:sp>
      <p:pic>
        <p:nvPicPr>
          <p:cNvPr id="2" name="Image 1"/>
          <p:cNvPicPr>
            <a:picLocks noChangeAspect="1"/>
          </p:cNvPicPr>
          <p:nvPr/>
        </p:nvPicPr>
        <p:blipFill rotWithShape="1">
          <a:blip r:embed="rId2"/>
          <a:srcRect l="7605" r="1" b="1"/>
          <a:stretch/>
        </p:blipFill>
        <p:spPr>
          <a:xfrm>
            <a:off x="5530478" y="903730"/>
            <a:ext cx="5814879" cy="4472307"/>
          </a:xfrm>
          <a:prstGeom prst="rect">
            <a:avLst/>
          </a:prstGeom>
        </p:spPr>
      </p:pic>
    </p:spTree>
    <p:extLst>
      <p:ext uri="{BB962C8B-B14F-4D97-AF65-F5344CB8AC3E}">
        <p14:creationId xmlns:p14="http://schemas.microsoft.com/office/powerpoint/2010/main" val="18773034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p:cNvSpPr>
            <a:spLocks noGrp="1" noChangeArrowheads="1"/>
          </p:cNvSpPr>
          <p:nvPr>
            <p:ph type="title"/>
          </p:nvPr>
        </p:nvSpPr>
        <p:spPr/>
        <p:txBody>
          <a:bodyPr/>
          <a:lstStyle/>
          <a:p>
            <a:pPr eaLnBrk="1" hangingPunct="1">
              <a:defRPr/>
            </a:pPr>
            <a:r>
              <a:rPr lang="fr-FR" sz="4000" b="1" dirty="0" err="1"/>
              <a:t>Agencies</a:t>
            </a:r>
            <a:r>
              <a:rPr lang="fr-FR" sz="4000" b="1" dirty="0"/>
              <a:t>… or not !</a:t>
            </a:r>
          </a:p>
        </p:txBody>
      </p:sp>
      <p:sp>
        <p:nvSpPr>
          <p:cNvPr id="24579" name="Oval 3"/>
          <p:cNvSpPr>
            <a:spLocks noChangeArrowheads="1"/>
          </p:cNvSpPr>
          <p:nvPr/>
        </p:nvSpPr>
        <p:spPr bwMode="auto">
          <a:xfrm>
            <a:off x="1884364" y="3156745"/>
            <a:ext cx="2590800" cy="1800225"/>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dirty="0"/>
              <a:t>Club / Event</a:t>
            </a:r>
          </a:p>
        </p:txBody>
      </p:sp>
      <p:sp>
        <p:nvSpPr>
          <p:cNvPr id="24580" name="Oval 4"/>
          <p:cNvSpPr>
            <a:spLocks noChangeArrowheads="1"/>
          </p:cNvSpPr>
          <p:nvPr/>
        </p:nvSpPr>
        <p:spPr bwMode="auto">
          <a:xfrm>
            <a:off x="7608888" y="3141664"/>
            <a:ext cx="2590800" cy="1800225"/>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dirty="0"/>
              <a:t>Sponsors</a:t>
            </a:r>
          </a:p>
        </p:txBody>
      </p:sp>
      <p:sp>
        <p:nvSpPr>
          <p:cNvPr id="24581" name="Rectangle 5"/>
          <p:cNvSpPr>
            <a:spLocks noChangeArrowheads="1"/>
          </p:cNvSpPr>
          <p:nvPr/>
        </p:nvSpPr>
        <p:spPr bwMode="auto">
          <a:xfrm>
            <a:off x="5016501" y="1773239"/>
            <a:ext cx="2232025" cy="935037"/>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dirty="0"/>
              <a:t>Sport Marketing </a:t>
            </a:r>
          </a:p>
          <a:p>
            <a:pPr algn="ctr" eaLnBrk="1" hangingPunct="1">
              <a:spcBef>
                <a:spcPct val="0"/>
              </a:spcBef>
              <a:buClrTx/>
              <a:buSzTx/>
              <a:buFontTx/>
              <a:buNone/>
            </a:pPr>
            <a:r>
              <a:rPr lang="fr-FR" altLang="fr-FR" sz="1800" dirty="0" err="1"/>
              <a:t>Agencies</a:t>
            </a:r>
            <a:endParaRPr lang="fr-FR" altLang="fr-FR" sz="1800" dirty="0"/>
          </a:p>
        </p:txBody>
      </p:sp>
      <p:sp>
        <p:nvSpPr>
          <p:cNvPr id="24582" name="Line 6"/>
          <p:cNvSpPr>
            <a:spLocks noChangeShapeType="1"/>
          </p:cNvSpPr>
          <p:nvPr/>
        </p:nvSpPr>
        <p:spPr bwMode="auto">
          <a:xfrm flipH="1" flipV="1">
            <a:off x="7248526" y="2276475"/>
            <a:ext cx="792163" cy="108108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4583" name="Line 7"/>
          <p:cNvSpPr>
            <a:spLocks noChangeShapeType="1"/>
          </p:cNvSpPr>
          <p:nvPr/>
        </p:nvSpPr>
        <p:spPr bwMode="auto">
          <a:xfrm flipH="1">
            <a:off x="3575050" y="2205039"/>
            <a:ext cx="1441450" cy="93662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4584" name="Rectangle 8"/>
          <p:cNvSpPr>
            <a:spLocks noChangeArrowheads="1"/>
          </p:cNvSpPr>
          <p:nvPr/>
        </p:nvSpPr>
        <p:spPr bwMode="auto">
          <a:xfrm>
            <a:off x="4656139" y="5300664"/>
            <a:ext cx="2447925" cy="936625"/>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dirty="0"/>
              <a:t>Commercial </a:t>
            </a:r>
          </a:p>
          <a:p>
            <a:pPr algn="ctr" eaLnBrk="1" hangingPunct="1">
              <a:spcBef>
                <a:spcPct val="0"/>
              </a:spcBef>
              <a:buClrTx/>
              <a:buSzTx/>
              <a:buFontTx/>
              <a:buNone/>
            </a:pPr>
            <a:r>
              <a:rPr lang="fr-FR" altLang="fr-FR" sz="1800" dirty="0" err="1"/>
              <a:t>Sponsorship</a:t>
            </a:r>
            <a:r>
              <a:rPr lang="fr-FR" altLang="fr-FR" sz="1800" dirty="0"/>
              <a:t> </a:t>
            </a:r>
          </a:p>
          <a:p>
            <a:pPr algn="ctr" eaLnBrk="1" hangingPunct="1">
              <a:spcBef>
                <a:spcPct val="0"/>
              </a:spcBef>
              <a:buClrTx/>
              <a:buSzTx/>
              <a:buFontTx/>
              <a:buNone/>
            </a:pPr>
            <a:r>
              <a:rPr lang="fr-FR" altLang="fr-FR" sz="1800" dirty="0"/>
              <a:t>Direction</a:t>
            </a:r>
          </a:p>
        </p:txBody>
      </p:sp>
      <p:sp>
        <p:nvSpPr>
          <p:cNvPr id="24585" name="Line 9"/>
          <p:cNvSpPr>
            <a:spLocks noChangeShapeType="1"/>
          </p:cNvSpPr>
          <p:nvPr/>
        </p:nvSpPr>
        <p:spPr bwMode="auto">
          <a:xfrm>
            <a:off x="3863976" y="4868863"/>
            <a:ext cx="792163" cy="7921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4586" name="Line 10"/>
          <p:cNvSpPr>
            <a:spLocks noChangeShapeType="1"/>
          </p:cNvSpPr>
          <p:nvPr/>
        </p:nvSpPr>
        <p:spPr bwMode="auto">
          <a:xfrm flipV="1">
            <a:off x="7175500" y="4941888"/>
            <a:ext cx="1296988" cy="792162"/>
          </a:xfrm>
          <a:prstGeom prst="line">
            <a:avLst/>
          </a:prstGeom>
          <a:noFill/>
          <a:ln w="9525">
            <a:solidFill>
              <a:schemeClr val="tx1"/>
            </a:solidFill>
            <a:prstDash val="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4587" name="Freeform 11"/>
          <p:cNvSpPr>
            <a:spLocks/>
          </p:cNvSpPr>
          <p:nvPr/>
        </p:nvSpPr>
        <p:spPr bwMode="auto">
          <a:xfrm>
            <a:off x="7104063" y="5876926"/>
            <a:ext cx="1223962" cy="384175"/>
          </a:xfrm>
          <a:custGeom>
            <a:avLst/>
            <a:gdLst>
              <a:gd name="T0" fmla="*/ 0 w 1179"/>
              <a:gd name="T1" fmla="*/ 0 h 242"/>
              <a:gd name="T2" fmla="*/ 2147483646 w 1179"/>
              <a:gd name="T3" fmla="*/ 2147483646 h 242"/>
              <a:gd name="T4" fmla="*/ 2147483646 w 1179"/>
              <a:gd name="T5" fmla="*/ 2147483646 h 242"/>
              <a:gd name="T6" fmla="*/ 2147483646 w 1179"/>
              <a:gd name="T7" fmla="*/ 2147483646 h 242"/>
              <a:gd name="T8" fmla="*/ 2147483646 w 1179"/>
              <a:gd name="T9" fmla="*/ 2147483646 h 2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79" h="242">
                <a:moveTo>
                  <a:pt x="0" y="0"/>
                </a:moveTo>
                <a:cubicBezTo>
                  <a:pt x="72" y="106"/>
                  <a:pt x="144" y="212"/>
                  <a:pt x="227" y="227"/>
                </a:cubicBezTo>
                <a:cubicBezTo>
                  <a:pt x="310" y="242"/>
                  <a:pt x="378" y="98"/>
                  <a:pt x="499" y="91"/>
                </a:cubicBezTo>
                <a:cubicBezTo>
                  <a:pt x="620" y="84"/>
                  <a:pt x="840" y="189"/>
                  <a:pt x="953" y="182"/>
                </a:cubicBezTo>
                <a:cubicBezTo>
                  <a:pt x="1066" y="175"/>
                  <a:pt x="1142" y="69"/>
                  <a:pt x="1179" y="46"/>
                </a:cubicBezTo>
              </a:path>
            </a:pathLst>
          </a:custGeom>
          <a:noFill/>
          <a:ln w="9525">
            <a:solidFill>
              <a:schemeClr val="tx1"/>
            </a:solidFill>
            <a:round/>
            <a:headEnd/>
            <a:tailEnd type="stealth"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4588" name="AutoShape 12"/>
          <p:cNvSpPr>
            <a:spLocks noChangeArrowheads="1"/>
          </p:cNvSpPr>
          <p:nvPr/>
        </p:nvSpPr>
        <p:spPr bwMode="auto">
          <a:xfrm>
            <a:off x="8183564" y="4868863"/>
            <a:ext cx="3600448" cy="1700212"/>
          </a:xfrm>
          <a:prstGeom prst="irregularSeal2">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dirty="0" err="1"/>
              <a:t>Need</a:t>
            </a:r>
            <a:r>
              <a:rPr lang="fr-FR" altLang="fr-FR" sz="1800" dirty="0"/>
              <a:t> </a:t>
            </a:r>
          </a:p>
          <a:p>
            <a:pPr algn="ctr" eaLnBrk="1" hangingPunct="1">
              <a:spcBef>
                <a:spcPct val="0"/>
              </a:spcBef>
              <a:buClrTx/>
              <a:buSzTx/>
              <a:buFontTx/>
              <a:buNone/>
            </a:pPr>
            <a:r>
              <a:rPr lang="fr-FR" altLang="fr-FR" sz="1800" dirty="0"/>
              <a:t>For</a:t>
            </a:r>
          </a:p>
          <a:p>
            <a:pPr algn="ctr" eaLnBrk="1" hangingPunct="1">
              <a:spcBef>
                <a:spcPct val="0"/>
              </a:spcBef>
              <a:buClrTx/>
              <a:buSzTx/>
              <a:buFontTx/>
              <a:buNone/>
            </a:pPr>
            <a:r>
              <a:rPr lang="fr-FR" altLang="fr-FR" sz="1800" dirty="0" err="1"/>
              <a:t>Competencies</a:t>
            </a:r>
            <a:endParaRPr lang="fr-FR" altLang="fr-FR" sz="1800" dirty="0"/>
          </a:p>
        </p:txBody>
      </p:sp>
      <p:pic>
        <p:nvPicPr>
          <p:cNvPr id="24589" name="Picture 13" descr="MCj030381500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19964" y="4724400"/>
            <a:ext cx="50958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0" name="Picture 14" descr="j01958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80326" y="2060576"/>
            <a:ext cx="746125" cy="766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1" name="Picture 15" descr="MCj04244900000[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92538" y="1989138"/>
            <a:ext cx="61436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2" name="Picture 16" descr="MCj04160640000[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59150" y="5084764"/>
            <a:ext cx="723900" cy="96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93" name="Line 17"/>
          <p:cNvSpPr>
            <a:spLocks noChangeShapeType="1"/>
          </p:cNvSpPr>
          <p:nvPr/>
        </p:nvSpPr>
        <p:spPr bwMode="auto">
          <a:xfrm flipV="1">
            <a:off x="6024563" y="2781301"/>
            <a:ext cx="0" cy="2519363"/>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4594" name="Line 18"/>
          <p:cNvSpPr>
            <a:spLocks noChangeShapeType="1"/>
          </p:cNvSpPr>
          <p:nvPr/>
        </p:nvSpPr>
        <p:spPr bwMode="auto">
          <a:xfrm>
            <a:off x="6167439" y="2708276"/>
            <a:ext cx="1512887" cy="93662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pic>
        <p:nvPicPr>
          <p:cNvPr id="24595" name="Picture 19" descr="MCj04160640000[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385082" y="5605024"/>
            <a:ext cx="411162"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6" name="Picture 20" descr="MCj04244900000[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64194" y="5480844"/>
            <a:ext cx="4524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7" name="Picture 21" descr="j01958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38718" y="4715669"/>
            <a:ext cx="604837"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Image 2">
            <a:extLst>
              <a:ext uri="{FF2B5EF4-FFF2-40B4-BE49-F238E27FC236}">
                <a16:creationId xmlns:a16="http://schemas.microsoft.com/office/drawing/2014/main" id="{448541E8-D745-4073-8089-5CF615F866F6}"/>
              </a:ext>
            </a:extLst>
          </p:cNvPr>
          <p:cNvPicPr>
            <a:picLocks noChangeAspect="1"/>
          </p:cNvPicPr>
          <p:nvPr/>
        </p:nvPicPr>
        <p:blipFill>
          <a:blip r:embed="rId6"/>
          <a:stretch>
            <a:fillRect/>
          </a:stretch>
        </p:blipFill>
        <p:spPr>
          <a:xfrm>
            <a:off x="9178166" y="6406"/>
            <a:ext cx="1916554" cy="1600977"/>
          </a:xfrm>
          <a:prstGeom prst="rect">
            <a:avLst/>
          </a:prstGeom>
        </p:spPr>
      </p:pic>
    </p:spTree>
    <p:extLst>
      <p:ext uri="{BB962C8B-B14F-4D97-AF65-F5344CB8AC3E}">
        <p14:creationId xmlns:p14="http://schemas.microsoft.com/office/powerpoint/2010/main" val="1072841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25B97239-2685-48C8-8104-1D4E4E383D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6" name="Image 5" descr="Une image contenant intérieur, plancher, mur, table&#10;&#10;Description générée automatiquement">
            <a:extLst>
              <a:ext uri="{FF2B5EF4-FFF2-40B4-BE49-F238E27FC236}">
                <a16:creationId xmlns:a16="http://schemas.microsoft.com/office/drawing/2014/main" id="{8C3504B5-A6CA-49A3-923C-1FC6A1BD0075}"/>
              </a:ext>
            </a:extLst>
          </p:cNvPr>
          <p:cNvPicPr>
            <a:picLocks noChangeAspect="1"/>
          </p:cNvPicPr>
          <p:nvPr/>
        </p:nvPicPr>
        <p:blipFill rotWithShape="1">
          <a:blip r:embed="rId2"/>
          <a:srcRect t="11215" r="-2" b="8772"/>
          <a:stretch/>
        </p:blipFill>
        <p:spPr>
          <a:xfrm>
            <a:off x="321734" y="321733"/>
            <a:ext cx="5674894" cy="3030842"/>
          </a:xfrm>
          <a:prstGeom prst="rect">
            <a:avLst/>
          </a:prstGeom>
        </p:spPr>
      </p:pic>
      <p:pic>
        <p:nvPicPr>
          <p:cNvPr id="5" name="Image 4">
            <a:extLst>
              <a:ext uri="{FF2B5EF4-FFF2-40B4-BE49-F238E27FC236}">
                <a16:creationId xmlns:a16="http://schemas.microsoft.com/office/drawing/2014/main" id="{244863D0-A64F-4151-864F-3F1CF4FF6DB9}"/>
              </a:ext>
            </a:extLst>
          </p:cNvPr>
          <p:cNvPicPr>
            <a:picLocks noChangeAspect="1"/>
          </p:cNvPicPr>
          <p:nvPr/>
        </p:nvPicPr>
        <p:blipFill rotWithShape="1">
          <a:blip r:embed="rId3"/>
          <a:srcRect t="2088"/>
          <a:stretch/>
        </p:blipFill>
        <p:spPr>
          <a:xfrm>
            <a:off x="321735" y="3524289"/>
            <a:ext cx="2676579" cy="2776517"/>
          </a:xfrm>
          <a:prstGeom prst="rect">
            <a:avLst/>
          </a:prstGeom>
        </p:spPr>
      </p:pic>
      <p:pic>
        <p:nvPicPr>
          <p:cNvPr id="7" name="Image 6" descr="Une image contenant texte&#10;&#10;Description générée automatiquement">
            <a:extLst>
              <a:ext uri="{FF2B5EF4-FFF2-40B4-BE49-F238E27FC236}">
                <a16:creationId xmlns:a16="http://schemas.microsoft.com/office/drawing/2014/main" id="{9B5A50B6-5228-44A1-A0A2-98E35C5BC013}"/>
              </a:ext>
            </a:extLst>
          </p:cNvPr>
          <p:cNvPicPr>
            <a:picLocks noChangeAspect="1"/>
          </p:cNvPicPr>
          <p:nvPr/>
        </p:nvPicPr>
        <p:blipFill rotWithShape="1">
          <a:blip r:embed="rId4"/>
          <a:srcRect l="6533" r="19639" b="3"/>
          <a:stretch/>
        </p:blipFill>
        <p:spPr>
          <a:xfrm>
            <a:off x="3159553" y="3514855"/>
            <a:ext cx="2837076" cy="2785951"/>
          </a:xfrm>
          <a:prstGeom prst="rect">
            <a:avLst/>
          </a:prstGeom>
        </p:spPr>
      </p:pic>
      <p:pic>
        <p:nvPicPr>
          <p:cNvPr id="4" name="Image 3" descr="Une image contenant objets métalliques&#10;&#10;Description générée automatiquement">
            <a:extLst>
              <a:ext uri="{FF2B5EF4-FFF2-40B4-BE49-F238E27FC236}">
                <a16:creationId xmlns:a16="http://schemas.microsoft.com/office/drawing/2014/main" id="{9071A4E6-C3A6-4E49-B679-56D984107D61}"/>
              </a:ext>
            </a:extLst>
          </p:cNvPr>
          <p:cNvPicPr>
            <a:picLocks noChangeAspect="1"/>
          </p:cNvPicPr>
          <p:nvPr/>
        </p:nvPicPr>
        <p:blipFill rotWithShape="1">
          <a:blip r:embed="rId5"/>
          <a:srcRect l="27507" r="1308" b="-1"/>
          <a:stretch/>
        </p:blipFill>
        <p:spPr>
          <a:xfrm>
            <a:off x="6195373" y="321733"/>
            <a:ext cx="5674892" cy="5979074"/>
          </a:xfrm>
          <a:prstGeom prst="rect">
            <a:avLst/>
          </a:prstGeom>
        </p:spPr>
      </p:pic>
    </p:spTree>
    <p:extLst>
      <p:ext uri="{BB962C8B-B14F-4D97-AF65-F5344CB8AC3E}">
        <p14:creationId xmlns:p14="http://schemas.microsoft.com/office/powerpoint/2010/main" val="24983907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L'Olympique de Marseille et le Ministère du Tourisme ivoirien annoncent un  partenariat">
            <a:extLst>
              <a:ext uri="{FF2B5EF4-FFF2-40B4-BE49-F238E27FC236}">
                <a16:creationId xmlns:a16="http://schemas.microsoft.com/office/drawing/2014/main" id="{79D875AB-356A-01CD-A82B-7724D420610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27" r="4329" b="2"/>
          <a:stretch/>
        </p:blipFill>
        <p:spPr bwMode="auto">
          <a:xfrm>
            <a:off x="191086" y="171715"/>
            <a:ext cx="5813197" cy="612908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A l'instar du Rwanda avec Arsenal et le PSG, la destination Côte d'Ivoire  promue désormais par l'OM">
            <a:extLst>
              <a:ext uri="{FF2B5EF4-FFF2-40B4-BE49-F238E27FC236}">
                <a16:creationId xmlns:a16="http://schemas.microsoft.com/office/drawing/2014/main" id="{D1EFAC5B-9E35-4EBE-37B3-AD491EE7E10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206" r="5579" b="2"/>
          <a:stretch/>
        </p:blipFill>
        <p:spPr bwMode="auto">
          <a:xfrm>
            <a:off x="6196929" y="171716"/>
            <a:ext cx="5803986" cy="317142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88725253-2754-C745-BF94-5E2F0870620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5784" b="18692"/>
          <a:stretch/>
        </p:blipFill>
        <p:spPr bwMode="auto">
          <a:xfrm>
            <a:off x="6196929" y="3514856"/>
            <a:ext cx="5786386" cy="2785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19519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9026" name="Rectangle 2"/>
          <p:cNvSpPr>
            <a:spLocks noGrp="1" noChangeArrowheads="1"/>
          </p:cNvSpPr>
          <p:nvPr>
            <p:ph type="title"/>
          </p:nvPr>
        </p:nvSpPr>
        <p:spPr>
          <a:xfrm>
            <a:off x="1774826" y="0"/>
            <a:ext cx="8229600" cy="774700"/>
          </a:xfrm>
        </p:spPr>
        <p:txBody>
          <a:bodyPr>
            <a:normAutofit/>
          </a:bodyPr>
          <a:lstStyle/>
          <a:p>
            <a:pPr algn="ctr" eaLnBrk="1" hangingPunct="1">
              <a:defRPr/>
            </a:pPr>
            <a:r>
              <a:rPr lang="fr-FR" sz="3200" b="1" dirty="0"/>
              <a:t>Activation program </a:t>
            </a:r>
            <a:r>
              <a:rPr lang="fr-FR" sz="3200" b="1" dirty="0" err="1"/>
              <a:t>process</a:t>
            </a:r>
            <a:endParaRPr lang="fr-FR" sz="4000" b="1" dirty="0"/>
          </a:p>
        </p:txBody>
      </p:sp>
      <p:sp useBgFill="1">
        <p:nvSpPr>
          <p:cNvPr id="25603" name="Rectangle 3"/>
          <p:cNvSpPr>
            <a:spLocks noChangeArrowheads="1"/>
          </p:cNvSpPr>
          <p:nvPr/>
        </p:nvSpPr>
        <p:spPr bwMode="auto">
          <a:xfrm>
            <a:off x="1774826" y="5229226"/>
            <a:ext cx="5400675" cy="1368425"/>
          </a:xfrm>
          <a:prstGeom prst="rect">
            <a:avLst/>
          </a:prstGeom>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600" b="1" dirty="0">
                <a:sym typeface="Wingdings" panose="05000000000000000000" pitchFamily="2" charset="2"/>
              </a:rPr>
              <a:t>1. </a:t>
            </a:r>
            <a:r>
              <a:rPr lang="fr-FR" altLang="fr-FR" sz="1600" b="1" dirty="0" err="1"/>
              <a:t>Prospecting</a:t>
            </a:r>
            <a:r>
              <a:rPr lang="fr-FR" altLang="fr-FR" sz="1600" b="1" dirty="0"/>
              <a:t> – </a:t>
            </a:r>
            <a:r>
              <a:rPr lang="fr-FR" altLang="fr-FR" sz="1600" b="1" dirty="0" err="1"/>
              <a:t>Analyzing</a:t>
            </a:r>
            <a:r>
              <a:rPr lang="fr-FR" altLang="fr-FR" sz="1600" b="1" dirty="0"/>
              <a:t> - </a:t>
            </a:r>
            <a:r>
              <a:rPr lang="fr-FR" altLang="fr-FR" sz="1600" b="1" dirty="0" err="1"/>
              <a:t>Spying</a:t>
            </a:r>
            <a:r>
              <a:rPr lang="fr-FR" altLang="fr-FR" sz="1600" b="1" dirty="0"/>
              <a:t> </a:t>
            </a:r>
            <a:endParaRPr lang="fr-FR" altLang="fr-FR" sz="1600" dirty="0"/>
          </a:p>
          <a:p>
            <a:pPr algn="ctr" eaLnBrk="1" hangingPunct="1">
              <a:spcBef>
                <a:spcPct val="0"/>
              </a:spcBef>
              <a:buClrTx/>
              <a:buSzTx/>
              <a:buFontTx/>
              <a:buNone/>
            </a:pPr>
            <a:r>
              <a:rPr lang="fr-FR" altLang="fr-FR" sz="1600" dirty="0"/>
              <a:t>For a new sponsor</a:t>
            </a:r>
          </a:p>
          <a:p>
            <a:pPr algn="ctr" eaLnBrk="1" hangingPunct="1">
              <a:spcBef>
                <a:spcPct val="0"/>
              </a:spcBef>
              <a:buClrTx/>
              <a:buSzTx/>
              <a:buFontTx/>
              <a:buNone/>
            </a:pPr>
            <a:r>
              <a:rPr lang="fr-FR" altLang="fr-FR" sz="1600" dirty="0" err="1"/>
              <a:t>Special</a:t>
            </a:r>
            <a:r>
              <a:rPr lang="fr-FR" altLang="fr-FR" sz="1600" dirty="0"/>
              <a:t> </a:t>
            </a:r>
            <a:r>
              <a:rPr lang="fr-FR" altLang="fr-FR" sz="1600" dirty="0" err="1"/>
              <a:t>individual</a:t>
            </a:r>
            <a:r>
              <a:rPr lang="fr-FR" altLang="fr-FR" sz="1600" dirty="0"/>
              <a:t> </a:t>
            </a:r>
            <a:r>
              <a:rPr lang="fr-FR" altLang="fr-FR" sz="1600" dirty="0" err="1"/>
              <a:t>access</a:t>
            </a:r>
            <a:r>
              <a:rPr lang="fr-FR" altLang="fr-FR" sz="1600" dirty="0"/>
              <a:t> and information </a:t>
            </a:r>
          </a:p>
          <a:p>
            <a:pPr algn="ctr" eaLnBrk="1" hangingPunct="1">
              <a:spcBef>
                <a:spcPct val="0"/>
              </a:spcBef>
              <a:buClrTx/>
              <a:buSzTx/>
              <a:buFontTx/>
              <a:buNone/>
            </a:pPr>
            <a:r>
              <a:rPr lang="fr-FR" altLang="fr-FR" sz="1600" dirty="0"/>
              <a:t>by </a:t>
            </a:r>
            <a:r>
              <a:rPr lang="fr-FR" altLang="fr-FR" sz="1600" dirty="0" err="1"/>
              <a:t>your</a:t>
            </a:r>
            <a:r>
              <a:rPr lang="fr-FR" altLang="fr-FR" sz="1600" dirty="0"/>
              <a:t> top management or </a:t>
            </a:r>
            <a:r>
              <a:rPr lang="fr-FR" altLang="fr-FR" sz="1600" dirty="0" err="1"/>
              <a:t>owner</a:t>
            </a:r>
            <a:endParaRPr lang="fr-FR" altLang="fr-FR" sz="1600" dirty="0"/>
          </a:p>
        </p:txBody>
      </p:sp>
      <p:sp>
        <p:nvSpPr>
          <p:cNvPr id="25604" name="Rectangle 4"/>
          <p:cNvSpPr>
            <a:spLocks noChangeArrowheads="1"/>
          </p:cNvSpPr>
          <p:nvPr/>
        </p:nvSpPr>
        <p:spPr bwMode="auto">
          <a:xfrm>
            <a:off x="1774826" y="3357564"/>
            <a:ext cx="5400675" cy="1368425"/>
          </a:xfrm>
          <a:prstGeom prst="rect">
            <a:avLst/>
          </a:prstGeom>
          <a:solidFill>
            <a:srgbClr val="00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600" b="1" dirty="0">
                <a:solidFill>
                  <a:schemeClr val="bg1"/>
                </a:solidFill>
              </a:rPr>
              <a:t>2. </a:t>
            </a:r>
            <a:r>
              <a:rPr lang="fr-FR" altLang="fr-FR" sz="1600" b="1" dirty="0" err="1">
                <a:solidFill>
                  <a:schemeClr val="bg1"/>
                </a:solidFill>
              </a:rPr>
              <a:t>Customize</a:t>
            </a:r>
            <a:r>
              <a:rPr lang="fr-FR" altLang="fr-FR" sz="1600" b="1" dirty="0">
                <a:solidFill>
                  <a:schemeClr val="bg1"/>
                </a:solidFill>
              </a:rPr>
              <a:t> </a:t>
            </a:r>
            <a:r>
              <a:rPr lang="fr-FR" altLang="fr-FR" sz="1600" b="1" dirty="0" err="1">
                <a:solidFill>
                  <a:schemeClr val="bg1"/>
                </a:solidFill>
              </a:rPr>
              <a:t>your</a:t>
            </a:r>
            <a:r>
              <a:rPr lang="fr-FR" altLang="fr-FR" sz="1600" b="1" dirty="0">
                <a:solidFill>
                  <a:schemeClr val="bg1"/>
                </a:solidFill>
              </a:rPr>
              <a:t> </a:t>
            </a:r>
            <a:r>
              <a:rPr lang="fr-FR" altLang="fr-FR" sz="1600" b="1" dirty="0" err="1">
                <a:solidFill>
                  <a:schemeClr val="bg1"/>
                </a:solidFill>
              </a:rPr>
              <a:t>offer</a:t>
            </a:r>
            <a:endParaRPr lang="fr-FR" altLang="fr-FR" sz="1600" dirty="0">
              <a:solidFill>
                <a:schemeClr val="bg1"/>
              </a:solidFill>
            </a:endParaRPr>
          </a:p>
          <a:p>
            <a:pPr algn="ctr" eaLnBrk="1" hangingPunct="1">
              <a:spcBef>
                <a:spcPct val="0"/>
              </a:spcBef>
              <a:buClrTx/>
              <a:buSzTx/>
              <a:buFontTx/>
              <a:buNone/>
            </a:pPr>
            <a:r>
              <a:rPr lang="fr-FR" altLang="fr-FR" sz="1600" dirty="0" err="1">
                <a:solidFill>
                  <a:schemeClr val="bg1"/>
                </a:solidFill>
              </a:rPr>
              <a:t>Sensemaking</a:t>
            </a:r>
            <a:r>
              <a:rPr lang="fr-FR" altLang="fr-FR" sz="1600" dirty="0">
                <a:solidFill>
                  <a:schemeClr val="bg1"/>
                </a:solidFill>
              </a:rPr>
              <a:t> </a:t>
            </a:r>
            <a:r>
              <a:rPr lang="fr-FR" altLang="fr-FR" sz="1600" dirty="0" err="1">
                <a:solidFill>
                  <a:schemeClr val="bg1"/>
                </a:solidFill>
              </a:rPr>
              <a:t>proporsals</a:t>
            </a:r>
            <a:endParaRPr lang="fr-FR" altLang="fr-FR" sz="1600" dirty="0">
              <a:solidFill>
                <a:schemeClr val="bg1"/>
              </a:solidFill>
            </a:endParaRPr>
          </a:p>
          <a:p>
            <a:pPr algn="ctr" eaLnBrk="1" hangingPunct="1">
              <a:spcBef>
                <a:spcPct val="0"/>
              </a:spcBef>
              <a:buClrTx/>
              <a:buSzTx/>
              <a:buFontTx/>
              <a:buNone/>
            </a:pPr>
            <a:r>
              <a:rPr lang="fr-FR" altLang="fr-FR" sz="1600" dirty="0">
                <a:solidFill>
                  <a:schemeClr val="bg1"/>
                </a:solidFill>
              </a:rPr>
              <a:t>You are not a prof !</a:t>
            </a:r>
          </a:p>
          <a:p>
            <a:pPr algn="ctr" eaLnBrk="1" hangingPunct="1">
              <a:spcBef>
                <a:spcPct val="0"/>
              </a:spcBef>
              <a:buClrTx/>
              <a:buSzTx/>
              <a:buFontTx/>
              <a:buNone/>
            </a:pPr>
            <a:r>
              <a:rPr lang="fr-FR" altLang="fr-FR" sz="1600" dirty="0" err="1">
                <a:solidFill>
                  <a:schemeClr val="bg1"/>
                </a:solidFill>
              </a:rPr>
              <a:t>Using</a:t>
            </a:r>
            <a:r>
              <a:rPr lang="fr-FR" altLang="fr-FR" sz="1600" dirty="0">
                <a:solidFill>
                  <a:schemeClr val="bg1"/>
                </a:solidFill>
              </a:rPr>
              <a:t> 3 packs (light – medium – gold)</a:t>
            </a:r>
          </a:p>
        </p:txBody>
      </p:sp>
      <p:sp>
        <p:nvSpPr>
          <p:cNvPr id="25605" name="Rectangle 5"/>
          <p:cNvSpPr>
            <a:spLocks noChangeArrowheads="1"/>
          </p:cNvSpPr>
          <p:nvPr/>
        </p:nvSpPr>
        <p:spPr bwMode="auto">
          <a:xfrm>
            <a:off x="1774826" y="2276475"/>
            <a:ext cx="5400675" cy="647700"/>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600" b="1" dirty="0"/>
              <a:t>3. Activation - Action</a:t>
            </a:r>
            <a:r>
              <a:rPr lang="fr-FR" altLang="fr-FR" sz="1600" dirty="0"/>
              <a:t> </a:t>
            </a:r>
          </a:p>
          <a:p>
            <a:pPr algn="ctr" eaLnBrk="1" hangingPunct="1">
              <a:spcBef>
                <a:spcPct val="0"/>
              </a:spcBef>
              <a:buClrTx/>
              <a:buSzTx/>
              <a:buFontTx/>
              <a:buNone/>
            </a:pPr>
            <a:r>
              <a:rPr lang="fr-FR" altLang="fr-FR" sz="1600" dirty="0"/>
              <a:t>You are on the </a:t>
            </a:r>
            <a:r>
              <a:rPr lang="fr-FR" altLang="fr-FR" sz="1600" dirty="0" err="1"/>
              <a:t>field</a:t>
            </a:r>
            <a:endParaRPr lang="fr-FR" altLang="fr-FR" sz="1600" dirty="0"/>
          </a:p>
        </p:txBody>
      </p:sp>
      <p:sp>
        <p:nvSpPr>
          <p:cNvPr id="25606" name="Rectangle 6"/>
          <p:cNvSpPr>
            <a:spLocks noChangeArrowheads="1"/>
          </p:cNvSpPr>
          <p:nvPr/>
        </p:nvSpPr>
        <p:spPr bwMode="auto">
          <a:xfrm>
            <a:off x="1774826" y="1341438"/>
            <a:ext cx="5400675" cy="576262"/>
          </a:xfrm>
          <a:prstGeom prst="rect">
            <a:avLst/>
          </a:prstGeom>
          <a:solidFill>
            <a:srgbClr val="0000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600" b="1" dirty="0">
                <a:solidFill>
                  <a:schemeClr val="bg1"/>
                </a:solidFill>
              </a:rPr>
              <a:t>4. Evaluation ROO or ROI</a:t>
            </a:r>
          </a:p>
          <a:p>
            <a:pPr algn="ctr" eaLnBrk="1" hangingPunct="1">
              <a:spcBef>
                <a:spcPct val="0"/>
              </a:spcBef>
              <a:buClrTx/>
              <a:buSzTx/>
              <a:buFontTx/>
              <a:buNone/>
            </a:pPr>
            <a:endParaRPr lang="fr-FR" altLang="fr-FR" sz="1600" dirty="0">
              <a:solidFill>
                <a:schemeClr val="bg1"/>
              </a:solidFill>
            </a:endParaRPr>
          </a:p>
        </p:txBody>
      </p:sp>
      <p:sp>
        <p:nvSpPr>
          <p:cNvPr id="25607" name="Rectangle 7"/>
          <p:cNvSpPr>
            <a:spLocks noChangeArrowheads="1"/>
          </p:cNvSpPr>
          <p:nvPr/>
        </p:nvSpPr>
        <p:spPr bwMode="auto">
          <a:xfrm>
            <a:off x="7896225" y="3141664"/>
            <a:ext cx="2520950" cy="1152525"/>
          </a:xfrm>
          <a:prstGeom prst="rect">
            <a:avLst/>
          </a:prstGeom>
          <a:solidFill>
            <a:srgbClr val="FF99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b="1" dirty="0"/>
              <a:t>5. Evolution – </a:t>
            </a:r>
          </a:p>
          <a:p>
            <a:pPr algn="ctr" eaLnBrk="1" hangingPunct="1">
              <a:spcBef>
                <a:spcPct val="0"/>
              </a:spcBef>
              <a:buClrTx/>
              <a:buSzTx/>
              <a:buFontTx/>
              <a:buNone/>
            </a:pPr>
            <a:r>
              <a:rPr lang="fr-FR" altLang="fr-FR" sz="1800" b="1" dirty="0" err="1"/>
              <a:t>Dynamic</a:t>
            </a:r>
            <a:r>
              <a:rPr lang="fr-FR" altLang="fr-FR" sz="1800" b="1" dirty="0"/>
              <a:t> program</a:t>
            </a:r>
          </a:p>
          <a:p>
            <a:pPr algn="ctr" eaLnBrk="1" hangingPunct="1">
              <a:spcBef>
                <a:spcPct val="0"/>
              </a:spcBef>
              <a:buClrTx/>
              <a:buSzTx/>
              <a:buFontTx/>
              <a:buNone/>
            </a:pPr>
            <a:r>
              <a:rPr lang="fr-FR" altLang="fr-FR" sz="1800" b="1" dirty="0" err="1"/>
              <a:t>Loyalty</a:t>
            </a:r>
            <a:endParaRPr lang="fr-FR" altLang="fr-FR" sz="1800" dirty="0"/>
          </a:p>
        </p:txBody>
      </p:sp>
      <p:sp>
        <p:nvSpPr>
          <p:cNvPr id="25608" name="Line 8"/>
          <p:cNvSpPr>
            <a:spLocks noChangeShapeType="1"/>
          </p:cNvSpPr>
          <p:nvPr/>
        </p:nvSpPr>
        <p:spPr bwMode="auto">
          <a:xfrm flipV="1">
            <a:off x="4511675" y="4724401"/>
            <a:ext cx="0" cy="50482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5609" name="Line 9"/>
          <p:cNvSpPr>
            <a:spLocks noChangeShapeType="1"/>
          </p:cNvSpPr>
          <p:nvPr/>
        </p:nvSpPr>
        <p:spPr bwMode="auto">
          <a:xfrm flipV="1">
            <a:off x="4440238" y="2924175"/>
            <a:ext cx="0" cy="43338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5610" name="Line 10"/>
          <p:cNvSpPr>
            <a:spLocks noChangeShapeType="1"/>
          </p:cNvSpPr>
          <p:nvPr/>
        </p:nvSpPr>
        <p:spPr bwMode="auto">
          <a:xfrm flipV="1">
            <a:off x="4440238" y="1916113"/>
            <a:ext cx="0" cy="3603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5611" name="Line 11"/>
          <p:cNvSpPr>
            <a:spLocks noChangeShapeType="1"/>
          </p:cNvSpPr>
          <p:nvPr/>
        </p:nvSpPr>
        <p:spPr bwMode="auto">
          <a:xfrm>
            <a:off x="7175500" y="1628775"/>
            <a:ext cx="187325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5612" name="Line 12"/>
          <p:cNvSpPr>
            <a:spLocks noChangeShapeType="1"/>
          </p:cNvSpPr>
          <p:nvPr/>
        </p:nvSpPr>
        <p:spPr bwMode="auto">
          <a:xfrm>
            <a:off x="9048750" y="1628775"/>
            <a:ext cx="0" cy="1512888"/>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5613" name="Line 13"/>
          <p:cNvSpPr>
            <a:spLocks noChangeShapeType="1"/>
          </p:cNvSpPr>
          <p:nvPr/>
        </p:nvSpPr>
        <p:spPr bwMode="auto">
          <a:xfrm>
            <a:off x="9048750" y="4292601"/>
            <a:ext cx="0" cy="1584325"/>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5614" name="Line 14"/>
          <p:cNvSpPr>
            <a:spLocks noChangeShapeType="1"/>
          </p:cNvSpPr>
          <p:nvPr/>
        </p:nvSpPr>
        <p:spPr bwMode="auto">
          <a:xfrm flipH="1">
            <a:off x="7175500" y="5876925"/>
            <a:ext cx="187325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pic>
        <p:nvPicPr>
          <p:cNvPr id="3" name="Image 2" descr="Une image contenant objets métalliques&#10;&#10;Description générée automatiquement">
            <a:extLst>
              <a:ext uri="{FF2B5EF4-FFF2-40B4-BE49-F238E27FC236}">
                <a16:creationId xmlns:a16="http://schemas.microsoft.com/office/drawing/2014/main" id="{EE4F6CF3-C32D-45A8-97C0-3FFE97346FB7}"/>
              </a:ext>
            </a:extLst>
          </p:cNvPr>
          <p:cNvPicPr>
            <a:picLocks noChangeAspect="1"/>
          </p:cNvPicPr>
          <p:nvPr/>
        </p:nvPicPr>
        <p:blipFill>
          <a:blip r:embed="rId2"/>
          <a:stretch>
            <a:fillRect/>
          </a:stretch>
        </p:blipFill>
        <p:spPr>
          <a:xfrm>
            <a:off x="121764" y="5376110"/>
            <a:ext cx="1432875" cy="1074656"/>
          </a:xfrm>
          <a:prstGeom prst="rect">
            <a:avLst/>
          </a:prstGeom>
        </p:spPr>
      </p:pic>
      <p:pic>
        <p:nvPicPr>
          <p:cNvPr id="5" name="Image 4">
            <a:extLst>
              <a:ext uri="{FF2B5EF4-FFF2-40B4-BE49-F238E27FC236}">
                <a16:creationId xmlns:a16="http://schemas.microsoft.com/office/drawing/2014/main" id="{C44A489E-B370-47DE-A069-66AD9E375A12}"/>
              </a:ext>
            </a:extLst>
          </p:cNvPr>
          <p:cNvPicPr>
            <a:picLocks noChangeAspect="1"/>
          </p:cNvPicPr>
          <p:nvPr/>
        </p:nvPicPr>
        <p:blipFill>
          <a:blip r:embed="rId3"/>
          <a:stretch>
            <a:fillRect/>
          </a:stretch>
        </p:blipFill>
        <p:spPr>
          <a:xfrm>
            <a:off x="257881" y="3511321"/>
            <a:ext cx="1221866" cy="1294517"/>
          </a:xfrm>
          <a:prstGeom prst="rect">
            <a:avLst/>
          </a:prstGeom>
        </p:spPr>
      </p:pic>
      <p:pic>
        <p:nvPicPr>
          <p:cNvPr id="7" name="Image 6" descr="Une image contenant intérieur, plancher, mur, table&#10;&#10;Description générée automatiquement">
            <a:extLst>
              <a:ext uri="{FF2B5EF4-FFF2-40B4-BE49-F238E27FC236}">
                <a16:creationId xmlns:a16="http://schemas.microsoft.com/office/drawing/2014/main" id="{6ED58F56-8CAF-41CA-BCAA-72DF88C807F8}"/>
              </a:ext>
            </a:extLst>
          </p:cNvPr>
          <p:cNvPicPr>
            <a:picLocks noChangeAspect="1"/>
          </p:cNvPicPr>
          <p:nvPr/>
        </p:nvPicPr>
        <p:blipFill>
          <a:blip r:embed="rId4"/>
          <a:stretch>
            <a:fillRect/>
          </a:stretch>
        </p:blipFill>
        <p:spPr>
          <a:xfrm>
            <a:off x="192182" y="2276475"/>
            <a:ext cx="1432873" cy="956443"/>
          </a:xfrm>
          <a:prstGeom prst="rect">
            <a:avLst/>
          </a:prstGeom>
        </p:spPr>
      </p:pic>
      <p:pic>
        <p:nvPicPr>
          <p:cNvPr id="9" name="Image 8" descr="Une image contenant texte&#10;&#10;Description générée automatiquement">
            <a:extLst>
              <a:ext uri="{FF2B5EF4-FFF2-40B4-BE49-F238E27FC236}">
                <a16:creationId xmlns:a16="http://schemas.microsoft.com/office/drawing/2014/main" id="{8D3D5277-BC6C-4558-8CFA-04DA35DBFB21}"/>
              </a:ext>
            </a:extLst>
          </p:cNvPr>
          <p:cNvPicPr>
            <a:picLocks noChangeAspect="1"/>
          </p:cNvPicPr>
          <p:nvPr/>
        </p:nvPicPr>
        <p:blipFill>
          <a:blip r:embed="rId5"/>
          <a:stretch>
            <a:fillRect/>
          </a:stretch>
        </p:blipFill>
        <p:spPr>
          <a:xfrm>
            <a:off x="132213" y="938344"/>
            <a:ext cx="1492842" cy="1084170"/>
          </a:xfrm>
          <a:prstGeom prst="rect">
            <a:avLst/>
          </a:prstGeom>
        </p:spPr>
      </p:pic>
    </p:spTree>
    <p:extLst>
      <p:ext uri="{BB962C8B-B14F-4D97-AF65-F5344CB8AC3E}">
        <p14:creationId xmlns:p14="http://schemas.microsoft.com/office/powerpoint/2010/main" val="68752567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C7D8EFC1-9546-43FA-B662-571E31359CE2}"/>
              </a:ext>
            </a:extLst>
          </p:cNvPr>
          <p:cNvSpPr>
            <a:spLocks noGrp="1"/>
          </p:cNvSpPr>
          <p:nvPr>
            <p:ph type="ctrTitle"/>
          </p:nvPr>
        </p:nvSpPr>
        <p:spPr/>
        <p:txBody>
          <a:bodyPr>
            <a:normAutofit fontScale="90000"/>
          </a:bodyPr>
          <a:lstStyle/>
          <a:p>
            <a:r>
              <a:rPr lang="fr-FR" dirty="0"/>
              <a:t>Value Proposition and Activation Platform </a:t>
            </a:r>
          </a:p>
        </p:txBody>
      </p:sp>
      <p:sp>
        <p:nvSpPr>
          <p:cNvPr id="5" name="Sous-titre 4">
            <a:extLst>
              <a:ext uri="{FF2B5EF4-FFF2-40B4-BE49-F238E27FC236}">
                <a16:creationId xmlns:a16="http://schemas.microsoft.com/office/drawing/2014/main" id="{51837B16-0EA1-4E5B-84DD-1534D581A0E5}"/>
              </a:ext>
            </a:extLst>
          </p:cNvPr>
          <p:cNvSpPr>
            <a:spLocks noGrp="1"/>
          </p:cNvSpPr>
          <p:nvPr>
            <p:ph type="subTitle" idx="12"/>
          </p:nvPr>
        </p:nvSpPr>
        <p:spPr/>
        <p:txBody>
          <a:bodyPr/>
          <a:lstStyle/>
          <a:p>
            <a:r>
              <a:rPr lang="fr-FR" dirty="0" err="1"/>
              <a:t>Interactional</a:t>
            </a:r>
            <a:r>
              <a:rPr lang="fr-FR" dirty="0"/>
              <a:t> </a:t>
            </a:r>
            <a:r>
              <a:rPr lang="fr-FR" dirty="0" err="1"/>
              <a:t>Typology</a:t>
            </a:r>
            <a:endParaRPr lang="fr-FR" dirty="0"/>
          </a:p>
        </p:txBody>
      </p:sp>
      <p:sp>
        <p:nvSpPr>
          <p:cNvPr id="6" name="Rectangle : coins arrondis 5">
            <a:extLst>
              <a:ext uri="{FF2B5EF4-FFF2-40B4-BE49-F238E27FC236}">
                <a16:creationId xmlns:a16="http://schemas.microsoft.com/office/drawing/2014/main" id="{3AD0B834-F610-4CF8-AD1C-0E754822D00D}"/>
              </a:ext>
            </a:extLst>
          </p:cNvPr>
          <p:cNvSpPr/>
          <p:nvPr/>
        </p:nvSpPr>
        <p:spPr>
          <a:xfrm>
            <a:off x="4915270" y="1278385"/>
            <a:ext cx="2219418" cy="585926"/>
          </a:xfrm>
          <a:prstGeom prst="round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fr-FR" dirty="0"/>
              <a:t>ACTIVATIONS</a:t>
            </a:r>
          </a:p>
        </p:txBody>
      </p:sp>
      <p:sp>
        <p:nvSpPr>
          <p:cNvPr id="7" name="Ellipse 6">
            <a:extLst>
              <a:ext uri="{FF2B5EF4-FFF2-40B4-BE49-F238E27FC236}">
                <a16:creationId xmlns:a16="http://schemas.microsoft.com/office/drawing/2014/main" id="{F1F74DCF-EFAC-4A32-9689-A0F42281F2AE}"/>
              </a:ext>
            </a:extLst>
          </p:cNvPr>
          <p:cNvSpPr/>
          <p:nvPr/>
        </p:nvSpPr>
        <p:spPr>
          <a:xfrm>
            <a:off x="1746681" y="2219418"/>
            <a:ext cx="1898342" cy="941033"/>
          </a:xfrm>
          <a:prstGeom prst="ellipse">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dirty="0"/>
              <a:t>Visual</a:t>
            </a:r>
          </a:p>
          <a:p>
            <a:pPr algn="ctr"/>
            <a:r>
              <a:rPr lang="fr-FR" sz="1400" dirty="0"/>
              <a:t>Interactions</a:t>
            </a:r>
          </a:p>
          <a:p>
            <a:pPr algn="ctr"/>
            <a:endParaRPr lang="fr-FR" sz="1400" dirty="0"/>
          </a:p>
        </p:txBody>
      </p:sp>
      <p:sp>
        <p:nvSpPr>
          <p:cNvPr id="8" name="Ellipse 7">
            <a:extLst>
              <a:ext uri="{FF2B5EF4-FFF2-40B4-BE49-F238E27FC236}">
                <a16:creationId xmlns:a16="http://schemas.microsoft.com/office/drawing/2014/main" id="{5281AF0D-398D-4C67-BCCE-A44A9C3B0686}"/>
              </a:ext>
            </a:extLst>
          </p:cNvPr>
          <p:cNvSpPr/>
          <p:nvPr/>
        </p:nvSpPr>
        <p:spPr>
          <a:xfrm>
            <a:off x="3966099" y="2219413"/>
            <a:ext cx="1898342" cy="941033"/>
          </a:xfrm>
          <a:prstGeom prst="ellipse">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dirty="0" err="1"/>
              <a:t>Relational</a:t>
            </a:r>
            <a:endParaRPr lang="fr-FR" sz="1400" dirty="0"/>
          </a:p>
          <a:p>
            <a:pPr algn="ctr"/>
            <a:r>
              <a:rPr lang="fr-FR" sz="1400" dirty="0"/>
              <a:t>Interactions</a:t>
            </a:r>
          </a:p>
          <a:p>
            <a:pPr algn="ctr"/>
            <a:endParaRPr lang="fr-FR" sz="1400" dirty="0"/>
          </a:p>
        </p:txBody>
      </p:sp>
      <p:sp>
        <p:nvSpPr>
          <p:cNvPr id="9" name="Ellipse 8">
            <a:extLst>
              <a:ext uri="{FF2B5EF4-FFF2-40B4-BE49-F238E27FC236}">
                <a16:creationId xmlns:a16="http://schemas.microsoft.com/office/drawing/2014/main" id="{3DA78645-E157-43D5-A8F3-F8A3C39FEABE}"/>
              </a:ext>
            </a:extLst>
          </p:cNvPr>
          <p:cNvSpPr/>
          <p:nvPr/>
        </p:nvSpPr>
        <p:spPr>
          <a:xfrm>
            <a:off x="6185517" y="2219414"/>
            <a:ext cx="1898342" cy="941033"/>
          </a:xfrm>
          <a:prstGeom prst="ellipse">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dirty="0" err="1"/>
              <a:t>Experiential</a:t>
            </a:r>
            <a:endParaRPr lang="fr-FR" sz="1400" dirty="0"/>
          </a:p>
          <a:p>
            <a:pPr algn="ctr"/>
            <a:r>
              <a:rPr lang="fr-FR" sz="1400" dirty="0"/>
              <a:t>Interactions</a:t>
            </a:r>
          </a:p>
          <a:p>
            <a:pPr algn="ctr"/>
            <a:endParaRPr lang="fr-FR" sz="1400" dirty="0"/>
          </a:p>
        </p:txBody>
      </p:sp>
      <p:sp>
        <p:nvSpPr>
          <p:cNvPr id="10" name="Ellipse 9">
            <a:extLst>
              <a:ext uri="{FF2B5EF4-FFF2-40B4-BE49-F238E27FC236}">
                <a16:creationId xmlns:a16="http://schemas.microsoft.com/office/drawing/2014/main" id="{DBCA19CD-91A9-4DA1-A55C-CA8E50DC9B7C}"/>
              </a:ext>
            </a:extLst>
          </p:cNvPr>
          <p:cNvSpPr/>
          <p:nvPr/>
        </p:nvSpPr>
        <p:spPr>
          <a:xfrm>
            <a:off x="8447127" y="2219415"/>
            <a:ext cx="1898342" cy="941033"/>
          </a:xfrm>
          <a:prstGeom prst="ellipse">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dirty="0" err="1"/>
              <a:t>Engaging</a:t>
            </a:r>
            <a:endParaRPr lang="fr-FR" sz="1400" dirty="0"/>
          </a:p>
          <a:p>
            <a:pPr algn="ctr"/>
            <a:r>
              <a:rPr lang="fr-FR" sz="1400" dirty="0"/>
              <a:t>Interactions</a:t>
            </a:r>
          </a:p>
          <a:p>
            <a:pPr algn="ctr"/>
            <a:endParaRPr lang="fr-FR" sz="1400" dirty="0"/>
          </a:p>
        </p:txBody>
      </p:sp>
      <p:cxnSp>
        <p:nvCxnSpPr>
          <p:cNvPr id="12" name="Connecteur droit avec flèche 11">
            <a:extLst>
              <a:ext uri="{FF2B5EF4-FFF2-40B4-BE49-F238E27FC236}">
                <a16:creationId xmlns:a16="http://schemas.microsoft.com/office/drawing/2014/main" id="{BC555285-0E40-4E1A-A249-AAF6EDFFCC20}"/>
              </a:ext>
            </a:extLst>
          </p:cNvPr>
          <p:cNvCxnSpPr>
            <a:stCxn id="7" idx="4"/>
          </p:cNvCxnSpPr>
          <p:nvPr/>
        </p:nvCxnSpPr>
        <p:spPr>
          <a:xfrm>
            <a:off x="2695852" y="3160451"/>
            <a:ext cx="0" cy="1171853"/>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
        <p:nvSpPr>
          <p:cNvPr id="13" name="Rectangle 12">
            <a:extLst>
              <a:ext uri="{FF2B5EF4-FFF2-40B4-BE49-F238E27FC236}">
                <a16:creationId xmlns:a16="http://schemas.microsoft.com/office/drawing/2014/main" id="{8D64C1E4-1D71-4175-B76B-1EB5204ED1DD}"/>
              </a:ext>
            </a:extLst>
          </p:cNvPr>
          <p:cNvSpPr/>
          <p:nvPr/>
        </p:nvSpPr>
        <p:spPr>
          <a:xfrm>
            <a:off x="1586145" y="4332304"/>
            <a:ext cx="2058871" cy="186431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b="1" dirty="0">
                <a:solidFill>
                  <a:schemeClr val="accent2"/>
                </a:solidFill>
              </a:rPr>
              <a:t>VISUAL CONTENTS</a:t>
            </a:r>
          </a:p>
          <a:p>
            <a:pPr algn="ctr"/>
            <a:r>
              <a:rPr lang="fr-FR" sz="1400" dirty="0" err="1"/>
              <a:t>Optimize</a:t>
            </a:r>
            <a:r>
              <a:rPr lang="fr-FR" sz="1400" dirty="0"/>
              <a:t> </a:t>
            </a:r>
            <a:r>
              <a:rPr lang="fr-FR" sz="1400" dirty="0" err="1"/>
              <a:t>your</a:t>
            </a:r>
            <a:r>
              <a:rPr lang="fr-FR" sz="1400" dirty="0"/>
              <a:t> media/digital/in stadia exposition</a:t>
            </a:r>
          </a:p>
          <a:p>
            <a:pPr algn="ctr"/>
            <a:endParaRPr lang="fr-FR" sz="1400" dirty="0"/>
          </a:p>
          <a:p>
            <a:pPr algn="ctr"/>
            <a:endParaRPr lang="fr-FR" sz="1400" dirty="0"/>
          </a:p>
          <a:p>
            <a:pPr algn="ctr"/>
            <a:r>
              <a:rPr lang="fr-FR" sz="1400" dirty="0"/>
              <a:t>Visual Dilution</a:t>
            </a:r>
          </a:p>
        </p:txBody>
      </p:sp>
      <p:pic>
        <p:nvPicPr>
          <p:cNvPr id="16" name="Graphique 15" descr="Avertissement">
            <a:extLst>
              <a:ext uri="{FF2B5EF4-FFF2-40B4-BE49-F238E27FC236}">
                <a16:creationId xmlns:a16="http://schemas.microsoft.com/office/drawing/2014/main" id="{E8E349EF-AE29-4A6C-B557-D6A4BBD35E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98076" y="5379868"/>
            <a:ext cx="435007" cy="435007"/>
          </a:xfrm>
          <a:prstGeom prst="rect">
            <a:avLst/>
          </a:prstGeom>
        </p:spPr>
      </p:pic>
      <p:sp>
        <p:nvSpPr>
          <p:cNvPr id="17" name="Rectangle 16">
            <a:extLst>
              <a:ext uri="{FF2B5EF4-FFF2-40B4-BE49-F238E27FC236}">
                <a16:creationId xmlns:a16="http://schemas.microsoft.com/office/drawing/2014/main" id="{600EF9E8-1612-417B-B852-2D4B9A7F1B8E}"/>
              </a:ext>
            </a:extLst>
          </p:cNvPr>
          <p:cNvSpPr/>
          <p:nvPr/>
        </p:nvSpPr>
        <p:spPr>
          <a:xfrm>
            <a:off x="3851077" y="4332304"/>
            <a:ext cx="2058871" cy="186431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b="1" dirty="0">
                <a:solidFill>
                  <a:schemeClr val="accent2"/>
                </a:solidFill>
              </a:rPr>
              <a:t>HUMAN CONTENTS</a:t>
            </a:r>
          </a:p>
          <a:p>
            <a:pPr algn="ctr"/>
            <a:r>
              <a:rPr lang="fr-FR" sz="1400" dirty="0"/>
              <a:t>« PR » / ex Champions / Premium</a:t>
            </a:r>
          </a:p>
          <a:p>
            <a:pPr algn="ctr"/>
            <a:endParaRPr lang="fr-FR" sz="1400" dirty="0"/>
          </a:p>
          <a:p>
            <a:pPr algn="ctr"/>
            <a:endParaRPr lang="fr-FR" sz="1400" dirty="0"/>
          </a:p>
          <a:p>
            <a:pPr algn="ctr"/>
            <a:r>
              <a:rPr lang="fr-FR" sz="1400" dirty="0"/>
              <a:t>Relationship Volume</a:t>
            </a:r>
          </a:p>
        </p:txBody>
      </p:sp>
      <p:cxnSp>
        <p:nvCxnSpPr>
          <p:cNvPr id="19" name="Connecteur droit avec flèche 18">
            <a:extLst>
              <a:ext uri="{FF2B5EF4-FFF2-40B4-BE49-F238E27FC236}">
                <a16:creationId xmlns:a16="http://schemas.microsoft.com/office/drawing/2014/main" id="{F3FFA25D-C2B1-4A7B-B8D9-3E68C055CAA3}"/>
              </a:ext>
            </a:extLst>
          </p:cNvPr>
          <p:cNvCxnSpPr>
            <a:stCxn id="8" idx="4"/>
          </p:cNvCxnSpPr>
          <p:nvPr/>
        </p:nvCxnSpPr>
        <p:spPr>
          <a:xfrm>
            <a:off x="4915270" y="3160445"/>
            <a:ext cx="0" cy="1171858"/>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
        <p:nvSpPr>
          <p:cNvPr id="20" name="Rectangle 19">
            <a:extLst>
              <a:ext uri="{FF2B5EF4-FFF2-40B4-BE49-F238E27FC236}">
                <a16:creationId xmlns:a16="http://schemas.microsoft.com/office/drawing/2014/main" id="{FF479C73-E146-4267-9387-844E19B4774D}"/>
              </a:ext>
            </a:extLst>
          </p:cNvPr>
          <p:cNvSpPr/>
          <p:nvPr/>
        </p:nvSpPr>
        <p:spPr>
          <a:xfrm>
            <a:off x="6116009" y="4332304"/>
            <a:ext cx="2058871" cy="186431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b="1" dirty="0">
                <a:solidFill>
                  <a:schemeClr val="accent2"/>
                </a:solidFill>
              </a:rPr>
              <a:t>FESTIVE CONTENT</a:t>
            </a:r>
          </a:p>
          <a:p>
            <a:pPr algn="ctr"/>
            <a:r>
              <a:rPr lang="fr-FR" sz="1400" dirty="0" err="1"/>
              <a:t>Specific</a:t>
            </a:r>
            <a:r>
              <a:rPr lang="fr-FR" sz="1400" dirty="0"/>
              <a:t> animations/ </a:t>
            </a:r>
            <a:r>
              <a:rPr lang="fr-FR" sz="1400" dirty="0" err="1"/>
              <a:t>Enlargement</a:t>
            </a:r>
            <a:r>
              <a:rPr lang="fr-FR" sz="1400" dirty="0"/>
              <a:t> &amp; </a:t>
            </a:r>
            <a:r>
              <a:rPr lang="fr-FR" sz="1400" dirty="0" err="1"/>
              <a:t>reinforcement</a:t>
            </a:r>
            <a:endParaRPr lang="fr-FR" sz="1400" dirty="0"/>
          </a:p>
          <a:p>
            <a:pPr algn="ctr"/>
            <a:endParaRPr lang="fr-FR" sz="1400" dirty="0"/>
          </a:p>
          <a:p>
            <a:pPr algn="ctr"/>
            <a:endParaRPr lang="fr-FR" sz="1400" dirty="0"/>
          </a:p>
          <a:p>
            <a:pPr algn="ctr"/>
            <a:r>
              <a:rPr lang="fr-FR" sz="1400" dirty="0" err="1"/>
              <a:t>Experiential</a:t>
            </a:r>
            <a:r>
              <a:rPr lang="fr-FR" sz="1400" dirty="0"/>
              <a:t> </a:t>
            </a:r>
            <a:r>
              <a:rPr lang="fr-FR" sz="1400" dirty="0" err="1"/>
              <a:t>Imbalance</a:t>
            </a:r>
            <a:endParaRPr lang="fr-FR" sz="1400" dirty="0"/>
          </a:p>
        </p:txBody>
      </p:sp>
      <p:cxnSp>
        <p:nvCxnSpPr>
          <p:cNvPr id="22" name="Connecteur droit avec flèche 21">
            <a:extLst>
              <a:ext uri="{FF2B5EF4-FFF2-40B4-BE49-F238E27FC236}">
                <a16:creationId xmlns:a16="http://schemas.microsoft.com/office/drawing/2014/main" id="{275F6A54-A2E1-459B-B944-35E1AC53578B}"/>
              </a:ext>
            </a:extLst>
          </p:cNvPr>
          <p:cNvCxnSpPr>
            <a:stCxn id="9" idx="4"/>
          </p:cNvCxnSpPr>
          <p:nvPr/>
        </p:nvCxnSpPr>
        <p:spPr>
          <a:xfrm>
            <a:off x="7134688" y="3160447"/>
            <a:ext cx="0" cy="1171857"/>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
        <p:nvSpPr>
          <p:cNvPr id="23" name="Rectangle 22">
            <a:extLst>
              <a:ext uri="{FF2B5EF4-FFF2-40B4-BE49-F238E27FC236}">
                <a16:creationId xmlns:a16="http://schemas.microsoft.com/office/drawing/2014/main" id="{57EA8CAC-244F-4DF4-8EB9-5D6AE57EE157}"/>
              </a:ext>
            </a:extLst>
          </p:cNvPr>
          <p:cNvSpPr/>
          <p:nvPr/>
        </p:nvSpPr>
        <p:spPr>
          <a:xfrm>
            <a:off x="8380941" y="4332304"/>
            <a:ext cx="2058871" cy="186431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b="1" dirty="0">
                <a:solidFill>
                  <a:schemeClr val="accent2"/>
                </a:solidFill>
              </a:rPr>
              <a:t>EMOTIONAL CONTENTS</a:t>
            </a:r>
          </a:p>
          <a:p>
            <a:pPr algn="ctr"/>
            <a:r>
              <a:rPr lang="fr-FR" sz="1400" dirty="0"/>
              <a:t>Common brand content/sport </a:t>
            </a:r>
            <a:r>
              <a:rPr lang="fr-FR" sz="1400" dirty="0" err="1"/>
              <a:t>authenticity</a:t>
            </a:r>
            <a:endParaRPr lang="fr-FR" sz="1400" dirty="0"/>
          </a:p>
          <a:p>
            <a:pPr algn="ctr"/>
            <a:endParaRPr lang="fr-FR" sz="1400" dirty="0"/>
          </a:p>
          <a:p>
            <a:pPr algn="ctr"/>
            <a:endParaRPr lang="fr-FR" sz="1400" dirty="0"/>
          </a:p>
          <a:p>
            <a:pPr algn="ctr"/>
            <a:endParaRPr lang="fr-FR" sz="1400" dirty="0"/>
          </a:p>
          <a:p>
            <a:pPr algn="ctr"/>
            <a:r>
              <a:rPr lang="fr-FR" sz="1400" dirty="0" err="1"/>
              <a:t>Forced</a:t>
            </a:r>
            <a:r>
              <a:rPr lang="fr-FR" sz="1400" dirty="0"/>
              <a:t> </a:t>
            </a:r>
            <a:r>
              <a:rPr lang="fr-FR" sz="1400" dirty="0" err="1"/>
              <a:t>Wedding</a:t>
            </a:r>
            <a:endParaRPr lang="fr-FR" sz="1400" dirty="0"/>
          </a:p>
        </p:txBody>
      </p:sp>
      <p:cxnSp>
        <p:nvCxnSpPr>
          <p:cNvPr id="25" name="Connecteur droit avec flèche 24">
            <a:extLst>
              <a:ext uri="{FF2B5EF4-FFF2-40B4-BE49-F238E27FC236}">
                <a16:creationId xmlns:a16="http://schemas.microsoft.com/office/drawing/2014/main" id="{738A1594-5B79-4D43-96D6-27440456ED86}"/>
              </a:ext>
            </a:extLst>
          </p:cNvPr>
          <p:cNvCxnSpPr>
            <a:cxnSpLocks/>
            <a:stCxn id="10" idx="4"/>
            <a:endCxn id="23" idx="0"/>
          </p:cNvCxnSpPr>
          <p:nvPr/>
        </p:nvCxnSpPr>
        <p:spPr>
          <a:xfrm>
            <a:off x="9396298" y="3160447"/>
            <a:ext cx="14078" cy="1171856"/>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pic>
        <p:nvPicPr>
          <p:cNvPr id="26" name="Graphique 25" descr="Avertissement">
            <a:extLst>
              <a:ext uri="{FF2B5EF4-FFF2-40B4-BE49-F238E27FC236}">
                <a16:creationId xmlns:a16="http://schemas.microsoft.com/office/drawing/2014/main" id="{B15E60B9-8E43-42C2-AACC-7FE64355181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63008" y="5286656"/>
            <a:ext cx="435007" cy="435007"/>
          </a:xfrm>
          <a:prstGeom prst="rect">
            <a:avLst/>
          </a:prstGeom>
        </p:spPr>
      </p:pic>
      <p:pic>
        <p:nvPicPr>
          <p:cNvPr id="27" name="Graphique 26" descr="Avertissement">
            <a:extLst>
              <a:ext uri="{FF2B5EF4-FFF2-40B4-BE49-F238E27FC236}">
                <a16:creationId xmlns:a16="http://schemas.microsoft.com/office/drawing/2014/main" id="{177CB199-A4D6-406D-BC92-E88B0537725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927940" y="5362111"/>
            <a:ext cx="435007" cy="435007"/>
          </a:xfrm>
          <a:prstGeom prst="rect">
            <a:avLst/>
          </a:prstGeom>
        </p:spPr>
      </p:pic>
      <p:pic>
        <p:nvPicPr>
          <p:cNvPr id="29" name="Graphique 28" descr="Avertissement">
            <a:extLst>
              <a:ext uri="{FF2B5EF4-FFF2-40B4-BE49-F238E27FC236}">
                <a16:creationId xmlns:a16="http://schemas.microsoft.com/office/drawing/2014/main" id="{ABF5AD33-35B8-4276-9A88-F78FD2554E6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78794" y="5392036"/>
            <a:ext cx="435007" cy="435007"/>
          </a:xfrm>
          <a:prstGeom prst="rect">
            <a:avLst/>
          </a:prstGeom>
        </p:spPr>
      </p:pic>
      <p:cxnSp>
        <p:nvCxnSpPr>
          <p:cNvPr id="31" name="Connecteur droit avec flèche 30">
            <a:extLst>
              <a:ext uri="{FF2B5EF4-FFF2-40B4-BE49-F238E27FC236}">
                <a16:creationId xmlns:a16="http://schemas.microsoft.com/office/drawing/2014/main" id="{278BA5B9-BC78-4876-A85D-1135F4E3C2F3}"/>
              </a:ext>
            </a:extLst>
          </p:cNvPr>
          <p:cNvCxnSpPr>
            <a:stCxn id="6" idx="1"/>
            <a:endCxn id="7" idx="0"/>
          </p:cNvCxnSpPr>
          <p:nvPr/>
        </p:nvCxnSpPr>
        <p:spPr>
          <a:xfrm flipH="1">
            <a:off x="2695852" y="1571349"/>
            <a:ext cx="2219418" cy="648069"/>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cxnSp>
        <p:nvCxnSpPr>
          <p:cNvPr id="33" name="Connecteur droit avec flèche 32">
            <a:extLst>
              <a:ext uri="{FF2B5EF4-FFF2-40B4-BE49-F238E27FC236}">
                <a16:creationId xmlns:a16="http://schemas.microsoft.com/office/drawing/2014/main" id="{24CC95AC-AE99-4CEA-AA16-E16FFF8C8430}"/>
              </a:ext>
            </a:extLst>
          </p:cNvPr>
          <p:cNvCxnSpPr>
            <a:stCxn id="6" idx="2"/>
            <a:endCxn id="8" idx="0"/>
          </p:cNvCxnSpPr>
          <p:nvPr/>
        </p:nvCxnSpPr>
        <p:spPr>
          <a:xfrm flipH="1">
            <a:off x="4915271" y="1864312"/>
            <a:ext cx="1109709" cy="355101"/>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cxnSp>
        <p:nvCxnSpPr>
          <p:cNvPr id="35" name="Connecteur droit avec flèche 34">
            <a:extLst>
              <a:ext uri="{FF2B5EF4-FFF2-40B4-BE49-F238E27FC236}">
                <a16:creationId xmlns:a16="http://schemas.microsoft.com/office/drawing/2014/main" id="{F7185A92-68F5-4778-A2CB-F673176B45F2}"/>
              </a:ext>
            </a:extLst>
          </p:cNvPr>
          <p:cNvCxnSpPr>
            <a:stCxn id="6" idx="2"/>
            <a:endCxn id="9" idx="0"/>
          </p:cNvCxnSpPr>
          <p:nvPr/>
        </p:nvCxnSpPr>
        <p:spPr>
          <a:xfrm>
            <a:off x="6024980" y="1864311"/>
            <a:ext cx="1109709" cy="355102"/>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cxnSp>
        <p:nvCxnSpPr>
          <p:cNvPr id="37" name="Connecteur droit avec flèche 36">
            <a:extLst>
              <a:ext uri="{FF2B5EF4-FFF2-40B4-BE49-F238E27FC236}">
                <a16:creationId xmlns:a16="http://schemas.microsoft.com/office/drawing/2014/main" id="{F21B511F-ED40-44A8-9805-3D4A9B0E7C39}"/>
              </a:ext>
            </a:extLst>
          </p:cNvPr>
          <p:cNvCxnSpPr>
            <a:stCxn id="6" idx="3"/>
            <a:endCxn id="10" idx="0"/>
          </p:cNvCxnSpPr>
          <p:nvPr/>
        </p:nvCxnSpPr>
        <p:spPr>
          <a:xfrm>
            <a:off x="7134688" y="1571348"/>
            <a:ext cx="2261610" cy="648066"/>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
        <p:nvSpPr>
          <p:cNvPr id="2" name="ZoneTexte 1">
            <a:extLst>
              <a:ext uri="{FF2B5EF4-FFF2-40B4-BE49-F238E27FC236}">
                <a16:creationId xmlns:a16="http://schemas.microsoft.com/office/drawing/2014/main" id="{1B1B7070-6EE1-4138-A6C3-8E9F2E9E990A}"/>
              </a:ext>
            </a:extLst>
          </p:cNvPr>
          <p:cNvSpPr txBox="1"/>
          <p:nvPr/>
        </p:nvSpPr>
        <p:spPr>
          <a:xfrm>
            <a:off x="1586145" y="3549794"/>
            <a:ext cx="8891966" cy="369332"/>
          </a:xfrm>
          <a:prstGeom prst="rect">
            <a:avLst/>
          </a:prstGeom>
          <a:solidFill>
            <a:srgbClr val="FFC000"/>
          </a:solidFill>
        </p:spPr>
        <p:txBody>
          <a:bodyPr wrap="square" rtlCol="0">
            <a:spAutoFit/>
          </a:bodyPr>
          <a:lstStyle/>
          <a:p>
            <a:pPr algn="ctr"/>
            <a:r>
              <a:rPr lang="fr-FR" b="1" dirty="0">
                <a:solidFill>
                  <a:schemeClr val="bg1"/>
                </a:solidFill>
                <a:effectLst>
                  <a:outerShdw blurRad="38100" dist="38100" dir="2700000" algn="tl">
                    <a:srgbClr val="000000">
                      <a:alpha val="43137"/>
                    </a:srgbClr>
                  </a:outerShdw>
                </a:effectLst>
              </a:rPr>
              <a:t>AUDIENCES</a:t>
            </a:r>
          </a:p>
        </p:txBody>
      </p:sp>
    </p:spTree>
    <p:extLst>
      <p:ext uri="{BB962C8B-B14F-4D97-AF65-F5344CB8AC3E}">
        <p14:creationId xmlns:p14="http://schemas.microsoft.com/office/powerpoint/2010/main" val="117914845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1074" name="Rectangle 2"/>
          <p:cNvSpPr>
            <a:spLocks noGrp="1" noChangeArrowheads="1"/>
          </p:cNvSpPr>
          <p:nvPr>
            <p:ph type="title"/>
          </p:nvPr>
        </p:nvSpPr>
        <p:spPr>
          <a:xfrm>
            <a:off x="1773715" y="5148167"/>
            <a:ext cx="9190422" cy="1139825"/>
          </a:xfrm>
        </p:spPr>
        <p:txBody>
          <a:bodyPr>
            <a:normAutofit/>
          </a:bodyPr>
          <a:lstStyle/>
          <a:p>
            <a:pPr algn="ctr" eaLnBrk="1" hangingPunct="1">
              <a:defRPr/>
            </a:pPr>
            <a:r>
              <a:rPr lang="fr-FR" dirty="0">
                <a:solidFill>
                  <a:srgbClr val="000000"/>
                </a:solidFill>
                <a:effectLst>
                  <a:outerShdw blurRad="38100" dist="38100" dir="2700000" algn="tl">
                    <a:srgbClr val="C0C0C0"/>
                  </a:outerShdw>
                </a:effectLst>
              </a:rPr>
              <a:t>CEO </a:t>
            </a:r>
            <a:r>
              <a:rPr lang="fr-FR" dirty="0" err="1">
                <a:solidFill>
                  <a:srgbClr val="000000"/>
                </a:solidFill>
                <a:effectLst>
                  <a:outerShdw blurRad="38100" dist="38100" dir="2700000" algn="tl">
                    <a:srgbClr val="C0C0C0"/>
                  </a:outerShdw>
                </a:effectLst>
              </a:rPr>
              <a:t>personnality</a:t>
            </a:r>
            <a:r>
              <a:rPr lang="fr-FR" dirty="0">
                <a:solidFill>
                  <a:srgbClr val="000000"/>
                </a:solidFill>
                <a:effectLst>
                  <a:outerShdw blurRad="38100" dist="38100" dir="2700000" algn="tl">
                    <a:srgbClr val="C0C0C0"/>
                  </a:outerShdw>
                </a:effectLst>
              </a:rPr>
              <a:t> « passion » activation</a:t>
            </a:r>
          </a:p>
        </p:txBody>
      </p:sp>
      <p:pic>
        <p:nvPicPr>
          <p:cNvPr id="27652" name="Picture 4" descr="lagardere">
            <a:hlinkClick r:id="rId2" action="ppaction://hlinkpres?slideindex=1&amp;slidetitle="/>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0549" y="530244"/>
            <a:ext cx="2625140" cy="1969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3" name="Picture 5" descr="2007053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82339" y="377586"/>
            <a:ext cx="3844887" cy="2563258"/>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4" name="Picture 6" descr="logo_team_lagarder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0565" y="2785343"/>
            <a:ext cx="3405108" cy="73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5" name="Picture 7" descr="cortomaltese_big copi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33707" y="984272"/>
            <a:ext cx="1828554" cy="2447924"/>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a:extLst>
            <a:ext uri="{909E8E84-426E-40DD-AFC4-6F175D3DCCD1}">
              <a14:hiddenFill xmlns:a14="http://schemas.microsoft.com/office/drawing/2010/main">
                <a:solidFill>
                  <a:srgbClr val="FFFFFF"/>
                </a:solidFill>
              </a14:hiddenFill>
            </a:ext>
          </a:extLst>
        </p:spPr>
      </p:pic>
      <p:pic>
        <p:nvPicPr>
          <p:cNvPr id="27656" name="Picture 8" descr="new LOGO Masters France">
            <a:hlinkClick r:id="rId7" action="ppaction://hlinkpres?slideindex=1&amp;slidetitle="/>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63352" y="4016089"/>
            <a:ext cx="1028700"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1072566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ectangle 2"/>
          <p:cNvSpPr>
            <a:spLocks noGrp="1" noChangeArrowheads="1"/>
          </p:cNvSpPr>
          <p:nvPr>
            <p:ph idx="1"/>
          </p:nvPr>
        </p:nvSpPr>
        <p:spPr>
          <a:xfrm>
            <a:off x="1330411" y="1847335"/>
            <a:ext cx="8229600" cy="4852988"/>
          </a:xfrm>
        </p:spPr>
        <p:txBody>
          <a:bodyPr/>
          <a:lstStyle/>
          <a:p>
            <a:pPr eaLnBrk="1" hangingPunct="1">
              <a:lnSpc>
                <a:spcPct val="90000"/>
              </a:lnSpc>
              <a:buFont typeface="Wingdings" panose="05000000000000000000" pitchFamily="2" charset="2"/>
              <a:buChar char="ð"/>
              <a:defRPr/>
            </a:pPr>
            <a:r>
              <a:rPr lang="fr-FR" sz="2400" dirty="0">
                <a:solidFill>
                  <a:srgbClr val="000000"/>
                </a:solidFill>
                <a:effectLst>
                  <a:outerShdw blurRad="38100" dist="38100" dir="2700000" algn="tl">
                    <a:srgbClr val="C0C0C0"/>
                  </a:outerShdw>
                </a:effectLst>
              </a:rPr>
              <a:t>Basketball </a:t>
            </a:r>
            <a:r>
              <a:rPr lang="fr-FR" sz="2400" dirty="0" err="1">
                <a:solidFill>
                  <a:srgbClr val="000000"/>
                </a:solidFill>
                <a:effectLst>
                  <a:outerShdw blurRad="38100" dist="38100" dir="2700000" algn="tl">
                    <a:srgbClr val="C0C0C0"/>
                  </a:outerShdw>
                </a:effectLst>
              </a:rPr>
              <a:t>competition</a:t>
            </a:r>
            <a:r>
              <a:rPr lang="fr-FR" sz="2400" dirty="0">
                <a:solidFill>
                  <a:srgbClr val="000000"/>
                </a:solidFill>
                <a:effectLst>
                  <a:outerShdw blurRad="38100" dist="38100" dir="2700000" algn="tl">
                    <a:srgbClr val="C0C0C0"/>
                  </a:outerShdw>
                </a:effectLst>
              </a:rPr>
              <a:t> and free practice </a:t>
            </a:r>
          </a:p>
          <a:p>
            <a:pPr eaLnBrk="1" hangingPunct="1">
              <a:lnSpc>
                <a:spcPct val="90000"/>
              </a:lnSpc>
              <a:buFont typeface="Wingdings" panose="05000000000000000000" pitchFamily="2" charset="2"/>
              <a:buChar char="ð"/>
              <a:defRPr/>
            </a:pPr>
            <a:endParaRPr lang="fr-FR" sz="2400" dirty="0">
              <a:solidFill>
                <a:srgbClr val="000000"/>
              </a:solidFill>
              <a:effectLst>
                <a:outerShdw blurRad="38100" dist="38100" dir="2700000" algn="tl">
                  <a:srgbClr val="C0C0C0"/>
                </a:outerShdw>
              </a:effectLst>
            </a:endParaRPr>
          </a:p>
          <a:p>
            <a:pPr eaLnBrk="1" hangingPunct="1">
              <a:lnSpc>
                <a:spcPct val="90000"/>
              </a:lnSpc>
              <a:buFont typeface="Wingdings" panose="05000000000000000000" pitchFamily="2" charset="2"/>
              <a:buChar char="ð"/>
              <a:defRPr/>
            </a:pPr>
            <a:r>
              <a:rPr lang="fr-FR" sz="2400" dirty="0">
                <a:solidFill>
                  <a:srgbClr val="000000"/>
                </a:solidFill>
                <a:effectLst>
                  <a:outerShdw blurRad="38100" dist="38100" dir="2700000" algn="tl">
                    <a:srgbClr val="C0C0C0"/>
                  </a:outerShdw>
                </a:effectLst>
              </a:rPr>
              <a:t>Open area for a </a:t>
            </a:r>
            <a:r>
              <a:rPr lang="fr-FR" sz="2400" dirty="0" err="1">
                <a:solidFill>
                  <a:srgbClr val="000000"/>
                </a:solidFill>
                <a:effectLst>
                  <a:outerShdw blurRad="38100" dist="38100" dir="2700000" algn="tl">
                    <a:srgbClr val="C0C0C0"/>
                  </a:outerShdw>
                </a:effectLst>
              </a:rPr>
              <a:t>general</a:t>
            </a:r>
            <a:r>
              <a:rPr lang="fr-FR" sz="2400" dirty="0">
                <a:solidFill>
                  <a:srgbClr val="000000"/>
                </a:solidFill>
                <a:effectLst>
                  <a:outerShdw blurRad="38100" dist="38100" dir="2700000" algn="tl">
                    <a:srgbClr val="C0C0C0"/>
                  </a:outerShdw>
                </a:effectLst>
              </a:rPr>
              <a:t> public</a:t>
            </a:r>
          </a:p>
          <a:p>
            <a:pPr eaLnBrk="1" hangingPunct="1">
              <a:lnSpc>
                <a:spcPct val="90000"/>
              </a:lnSpc>
              <a:buFont typeface="Wingdings" panose="05000000000000000000" pitchFamily="2" charset="2"/>
              <a:buChar char="ð"/>
              <a:defRPr/>
            </a:pPr>
            <a:endParaRPr lang="fr-FR" sz="2400" dirty="0">
              <a:solidFill>
                <a:srgbClr val="000000"/>
              </a:solidFill>
              <a:effectLst>
                <a:outerShdw blurRad="38100" dist="38100" dir="2700000" algn="tl">
                  <a:srgbClr val="C0C0C0"/>
                </a:outerShdw>
              </a:effectLst>
            </a:endParaRPr>
          </a:p>
          <a:p>
            <a:pPr eaLnBrk="1" hangingPunct="1">
              <a:lnSpc>
                <a:spcPct val="90000"/>
              </a:lnSpc>
              <a:buFont typeface="Wingdings" panose="05000000000000000000" pitchFamily="2" charset="2"/>
              <a:buChar char="ð"/>
              <a:defRPr/>
            </a:pPr>
            <a:r>
              <a:rPr lang="fr-FR" sz="2400" dirty="0">
                <a:solidFill>
                  <a:srgbClr val="000000"/>
                </a:solidFill>
                <a:effectLst>
                  <a:outerShdw blurRad="38100" dist="38100" dir="2700000" algn="tl">
                    <a:srgbClr val="C0C0C0"/>
                  </a:outerShdw>
                </a:effectLst>
              </a:rPr>
              <a:t>Elite </a:t>
            </a:r>
            <a:r>
              <a:rPr lang="fr-FR" sz="2400" dirty="0" err="1">
                <a:solidFill>
                  <a:srgbClr val="000000"/>
                </a:solidFill>
                <a:effectLst>
                  <a:outerShdw blurRad="38100" dist="38100" dir="2700000" algn="tl">
                    <a:srgbClr val="C0C0C0"/>
                  </a:outerShdw>
                </a:effectLst>
              </a:rPr>
              <a:t>championship</a:t>
            </a:r>
            <a:r>
              <a:rPr lang="fr-FR" sz="2400" dirty="0">
                <a:solidFill>
                  <a:srgbClr val="000000"/>
                </a:solidFill>
                <a:effectLst>
                  <a:outerShdw blurRad="38100" dist="38100" dir="2700000" algn="tl">
                    <a:srgbClr val="C0C0C0"/>
                  </a:outerShdw>
                </a:effectLst>
              </a:rPr>
              <a:t> 5*5</a:t>
            </a:r>
          </a:p>
          <a:p>
            <a:pPr eaLnBrk="1" hangingPunct="1">
              <a:lnSpc>
                <a:spcPct val="90000"/>
              </a:lnSpc>
              <a:buFont typeface="Wingdings" panose="05000000000000000000" pitchFamily="2" charset="2"/>
              <a:buChar char="ð"/>
              <a:defRPr/>
            </a:pPr>
            <a:endParaRPr lang="fr-FR" sz="2400" dirty="0">
              <a:solidFill>
                <a:srgbClr val="000000"/>
              </a:solidFill>
              <a:effectLst>
                <a:outerShdw blurRad="38100" dist="38100" dir="2700000" algn="tl">
                  <a:srgbClr val="C0C0C0"/>
                </a:outerShdw>
              </a:effectLst>
            </a:endParaRPr>
          </a:p>
          <a:p>
            <a:pPr eaLnBrk="1" hangingPunct="1">
              <a:lnSpc>
                <a:spcPct val="90000"/>
              </a:lnSpc>
              <a:buFont typeface="Wingdings" panose="05000000000000000000" pitchFamily="2" charset="2"/>
              <a:buChar char="ð"/>
              <a:defRPr/>
            </a:pPr>
            <a:r>
              <a:rPr lang="fr-FR" sz="2400" dirty="0">
                <a:solidFill>
                  <a:srgbClr val="000000"/>
                </a:solidFill>
                <a:effectLst>
                  <a:outerShdw blurRad="38100" dist="38100" dir="2700000" algn="tl">
                    <a:srgbClr val="C0C0C0"/>
                  </a:outerShdw>
                </a:effectLst>
              </a:rPr>
              <a:t>8 </a:t>
            </a:r>
            <a:r>
              <a:rPr lang="fr-FR" sz="2400" dirty="0" err="1">
                <a:solidFill>
                  <a:srgbClr val="000000"/>
                </a:solidFill>
                <a:effectLst>
                  <a:outerShdw blurRad="38100" dist="38100" dir="2700000" algn="tl">
                    <a:srgbClr val="C0C0C0"/>
                  </a:outerShdw>
                </a:effectLst>
              </a:rPr>
              <a:t>cities</a:t>
            </a:r>
            <a:r>
              <a:rPr lang="fr-FR" sz="2400" dirty="0">
                <a:solidFill>
                  <a:srgbClr val="000000"/>
                </a:solidFill>
                <a:effectLst>
                  <a:outerShdw blurRad="38100" dist="38100" dir="2700000" algn="tl">
                    <a:srgbClr val="C0C0C0"/>
                  </a:outerShdw>
                </a:effectLst>
              </a:rPr>
              <a:t> in Europe : Lyon, Paris, Cologne, Munich, Madrid, Barcelona, Milan, Roma</a:t>
            </a:r>
          </a:p>
        </p:txBody>
      </p:sp>
      <p:pic>
        <p:nvPicPr>
          <p:cNvPr id="29699" name="Picture 3" descr="BASKET-JAM-ok"/>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72038" y="404813"/>
            <a:ext cx="2417762"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1311127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2"/>
          <p:cNvSpPr>
            <a:spLocks noGrp="1" noChangeArrowheads="1"/>
          </p:cNvSpPr>
          <p:nvPr>
            <p:ph idx="1"/>
          </p:nvPr>
        </p:nvSpPr>
        <p:spPr>
          <a:xfrm>
            <a:off x="1173892" y="1976868"/>
            <a:ext cx="10293178" cy="5400675"/>
          </a:xfrm>
        </p:spPr>
        <p:txBody>
          <a:bodyPr/>
          <a:lstStyle/>
          <a:p>
            <a:pPr eaLnBrk="1" hangingPunct="1">
              <a:buSzTx/>
              <a:buFont typeface="Wingdings" panose="05000000000000000000" pitchFamily="2" charset="2"/>
              <a:buChar char="«"/>
              <a:defRPr/>
            </a:pPr>
            <a:r>
              <a:rPr lang="fr-FR" sz="2800" dirty="0" err="1">
                <a:solidFill>
                  <a:srgbClr val="000000"/>
                </a:solidFill>
                <a:effectLst>
                  <a:outerShdw blurRad="38100" dist="38100" dir="2700000" algn="tl">
                    <a:srgbClr val="C0C0C0"/>
                  </a:outerShdw>
                </a:effectLst>
              </a:rPr>
              <a:t>Visibility</a:t>
            </a:r>
            <a:r>
              <a:rPr lang="fr-FR" sz="2800" dirty="0">
                <a:solidFill>
                  <a:srgbClr val="000000"/>
                </a:solidFill>
                <a:effectLst>
                  <a:outerShdw blurRad="38100" dist="38100" dir="2700000" algn="tl">
                    <a:srgbClr val="C0C0C0"/>
                  </a:outerShdw>
                </a:effectLst>
              </a:rPr>
              <a:t> activations :</a:t>
            </a:r>
          </a:p>
          <a:p>
            <a:pPr lvl="1" eaLnBrk="1" hangingPunct="1">
              <a:buSzTx/>
              <a:buFont typeface="Wingdings" panose="05000000000000000000" pitchFamily="2" charset="2"/>
              <a:buChar char="«"/>
              <a:defRPr/>
            </a:pPr>
            <a:r>
              <a:rPr lang="fr-FR" sz="2400" dirty="0">
                <a:solidFill>
                  <a:srgbClr val="000000"/>
                </a:solidFill>
                <a:effectLst>
                  <a:outerShdw blurRad="38100" dist="38100" dir="2700000" algn="tl">
                    <a:srgbClr val="C0C0C0"/>
                  </a:outerShdw>
                </a:effectLst>
              </a:rPr>
              <a:t>Street marketing , flyers, </a:t>
            </a:r>
            <a:r>
              <a:rPr lang="fr-FR" sz="2400" dirty="0" err="1">
                <a:solidFill>
                  <a:srgbClr val="000000"/>
                </a:solidFill>
                <a:effectLst>
                  <a:outerShdw blurRad="38100" dist="38100" dir="2700000" algn="tl">
                    <a:srgbClr val="C0C0C0"/>
                  </a:outerShdw>
                </a:effectLst>
              </a:rPr>
              <a:t>printed</a:t>
            </a:r>
            <a:r>
              <a:rPr lang="fr-FR" sz="2400" dirty="0">
                <a:solidFill>
                  <a:srgbClr val="000000"/>
                </a:solidFill>
                <a:effectLst>
                  <a:outerShdw blurRad="38100" dist="38100" dir="2700000" algn="tl">
                    <a:srgbClr val="C0C0C0"/>
                  </a:outerShdw>
                </a:effectLst>
              </a:rPr>
              <a:t> supports, TS staff.</a:t>
            </a:r>
          </a:p>
          <a:p>
            <a:pPr lvl="1" eaLnBrk="1" hangingPunct="1">
              <a:buSzTx/>
              <a:buFont typeface="Wingdings" panose="05000000000000000000" pitchFamily="2" charset="2"/>
              <a:buChar char="«"/>
              <a:defRPr/>
            </a:pPr>
            <a:r>
              <a:rPr lang="fr-FR" sz="2400" dirty="0">
                <a:solidFill>
                  <a:srgbClr val="000000"/>
                </a:solidFill>
                <a:effectLst>
                  <a:outerShdw blurRad="38100" dist="38100" dir="2700000" algn="tl">
                    <a:srgbClr val="C0C0C0"/>
                  </a:outerShdw>
                </a:effectLst>
              </a:rPr>
              <a:t>Staff + </a:t>
            </a:r>
            <a:r>
              <a:rPr lang="fr-FR" sz="2400" dirty="0" err="1">
                <a:solidFill>
                  <a:srgbClr val="000000"/>
                </a:solidFill>
                <a:effectLst>
                  <a:outerShdw blurRad="38100" dist="38100" dir="2700000" algn="tl">
                    <a:srgbClr val="C0C0C0"/>
                  </a:outerShdw>
                </a:effectLst>
              </a:rPr>
              <a:t>presents</a:t>
            </a:r>
            <a:r>
              <a:rPr lang="fr-FR" sz="2400" dirty="0">
                <a:solidFill>
                  <a:srgbClr val="000000"/>
                </a:solidFill>
                <a:effectLst>
                  <a:outerShdw blurRad="38100" dist="38100" dir="2700000" algn="tl">
                    <a:srgbClr val="C0C0C0"/>
                  </a:outerShdw>
                </a:effectLst>
              </a:rPr>
              <a:t> for </a:t>
            </a:r>
            <a:r>
              <a:rPr lang="fr-FR" sz="2400" dirty="0" err="1">
                <a:solidFill>
                  <a:srgbClr val="000000"/>
                </a:solidFill>
                <a:effectLst>
                  <a:outerShdw blurRad="38100" dist="38100" dir="2700000" algn="tl">
                    <a:srgbClr val="C0C0C0"/>
                  </a:outerShdw>
                </a:effectLst>
              </a:rPr>
              <a:t>players</a:t>
            </a:r>
            <a:endParaRPr lang="fr-FR" sz="2400" dirty="0">
              <a:solidFill>
                <a:srgbClr val="000000"/>
              </a:solidFill>
              <a:effectLst>
                <a:outerShdw blurRad="38100" dist="38100" dir="2700000" algn="tl">
                  <a:srgbClr val="C0C0C0"/>
                </a:outerShdw>
              </a:effectLst>
            </a:endParaRPr>
          </a:p>
          <a:p>
            <a:pPr lvl="1">
              <a:buFont typeface="Wingdings" panose="05000000000000000000" pitchFamily="2" charset="2"/>
              <a:buChar char="«"/>
              <a:defRPr/>
            </a:pPr>
            <a:r>
              <a:rPr lang="fr-FR" sz="2400" dirty="0">
                <a:solidFill>
                  <a:srgbClr val="000000"/>
                </a:solidFill>
                <a:effectLst>
                  <a:outerShdw blurRad="38100" dist="38100" dir="2700000" algn="tl">
                    <a:srgbClr val="C0C0C0"/>
                  </a:outerShdw>
                </a:effectLst>
              </a:rPr>
              <a:t>Court: 16 m </a:t>
            </a:r>
            <a:r>
              <a:rPr lang="fr-FR" sz="2400" dirty="0" err="1">
                <a:solidFill>
                  <a:srgbClr val="000000"/>
                </a:solidFill>
                <a:effectLst>
                  <a:outerShdw blurRad="38100" dist="38100" dir="2700000" algn="tl">
                    <a:srgbClr val="C0C0C0"/>
                  </a:outerShdw>
                </a:effectLst>
              </a:rPr>
              <a:t>billboards</a:t>
            </a:r>
            <a:r>
              <a:rPr lang="fr-FR" sz="2400" dirty="0">
                <a:solidFill>
                  <a:srgbClr val="000000"/>
                </a:solidFill>
                <a:effectLst>
                  <a:outerShdw blurRad="38100" dist="38100" dir="2700000" algn="tl">
                    <a:srgbClr val="C0C0C0"/>
                  </a:outerShdw>
                </a:effectLst>
              </a:rPr>
              <a:t>, </a:t>
            </a:r>
            <a:r>
              <a:rPr lang="fr-FR" sz="2400" dirty="0" err="1">
                <a:solidFill>
                  <a:srgbClr val="000000"/>
                </a:solidFill>
                <a:effectLst>
                  <a:outerShdw blurRad="38100" dist="38100" dir="2700000" algn="tl">
                    <a:srgbClr val="C0C0C0"/>
                  </a:outerShdw>
                </a:effectLst>
              </a:rPr>
              <a:t>wall</a:t>
            </a:r>
            <a:r>
              <a:rPr lang="fr-FR" sz="2400" dirty="0">
                <a:solidFill>
                  <a:srgbClr val="000000"/>
                </a:solidFill>
                <a:effectLst>
                  <a:outerShdw blurRad="38100" dist="38100" dir="2700000" algn="tl">
                    <a:srgbClr val="C0C0C0"/>
                  </a:outerShdw>
                </a:effectLst>
              </a:rPr>
              <a:t> ITW, </a:t>
            </a:r>
            <a:r>
              <a:rPr lang="fr-FR" sz="2400" dirty="0" err="1">
                <a:solidFill>
                  <a:srgbClr val="000000"/>
                </a:solidFill>
                <a:effectLst>
                  <a:outerShdw blurRad="38100" dist="38100" dir="2700000" algn="tl">
                    <a:srgbClr val="C0C0C0"/>
                  </a:outerShdw>
                </a:effectLst>
              </a:rPr>
              <a:t>tents</a:t>
            </a:r>
            <a:r>
              <a:rPr lang="fr-FR" sz="2400" dirty="0">
                <a:solidFill>
                  <a:srgbClr val="000000"/>
                </a:solidFill>
                <a:effectLst>
                  <a:outerShdw blurRad="38100" dist="38100" dir="2700000" algn="tl">
                    <a:srgbClr val="C0C0C0"/>
                  </a:outerShdw>
                </a:effectLst>
              </a:rPr>
              <a:t>.</a:t>
            </a:r>
          </a:p>
          <a:p>
            <a:pPr lvl="1" eaLnBrk="1" hangingPunct="1">
              <a:buSzTx/>
              <a:buFont typeface="Wingdings" panose="05000000000000000000" pitchFamily="2" charset="2"/>
              <a:buNone/>
              <a:defRPr/>
            </a:pPr>
            <a:endParaRPr lang="fr-FR" sz="2400" dirty="0">
              <a:solidFill>
                <a:srgbClr val="000000"/>
              </a:solidFill>
              <a:effectLst>
                <a:outerShdw blurRad="38100" dist="38100" dir="2700000" algn="tl">
                  <a:srgbClr val="C0C0C0"/>
                </a:outerShdw>
              </a:effectLst>
            </a:endParaRPr>
          </a:p>
          <a:p>
            <a:pPr eaLnBrk="1" hangingPunct="1">
              <a:buSzTx/>
              <a:buFont typeface="Wingdings" panose="05000000000000000000" pitchFamily="2" charset="2"/>
              <a:buChar char="«"/>
              <a:defRPr/>
            </a:pPr>
            <a:r>
              <a:rPr lang="fr-FR" sz="2800" dirty="0" err="1">
                <a:solidFill>
                  <a:srgbClr val="000000"/>
                </a:solidFill>
                <a:effectLst>
                  <a:outerShdw blurRad="38100" dist="38100" dir="2700000" algn="tl">
                    <a:srgbClr val="C0C0C0"/>
                  </a:outerShdw>
                </a:effectLst>
              </a:rPr>
              <a:t>Sensemaking</a:t>
            </a:r>
            <a:r>
              <a:rPr lang="fr-FR" sz="2800" dirty="0">
                <a:solidFill>
                  <a:srgbClr val="000000"/>
                </a:solidFill>
                <a:effectLst>
                  <a:outerShdw blurRad="38100" dist="38100" dir="2700000" algn="tl">
                    <a:srgbClr val="C0C0C0"/>
                  </a:outerShdw>
                </a:effectLst>
              </a:rPr>
              <a:t> activations »: </a:t>
            </a:r>
          </a:p>
          <a:p>
            <a:pPr lvl="1" eaLnBrk="1" hangingPunct="1">
              <a:buSzTx/>
              <a:buFont typeface="Wingdings" panose="05000000000000000000" pitchFamily="2" charset="2"/>
              <a:buChar char="«"/>
              <a:defRPr/>
            </a:pPr>
            <a:r>
              <a:rPr lang="fr-FR" sz="2400" dirty="0">
                <a:solidFill>
                  <a:srgbClr val="000000"/>
                </a:solidFill>
                <a:effectLst>
                  <a:outerShdw blurRad="38100" dist="38100" dir="2700000" algn="tl">
                    <a:srgbClr val="C0C0C0"/>
                  </a:outerShdw>
                </a:effectLst>
              </a:rPr>
              <a:t>Champion of the Court : 1 vs 1 (300 - 350 </a:t>
            </a:r>
            <a:r>
              <a:rPr lang="fr-FR" sz="2400" dirty="0" err="1">
                <a:solidFill>
                  <a:srgbClr val="000000"/>
                </a:solidFill>
                <a:effectLst>
                  <a:outerShdw blurRad="38100" dist="38100" dir="2700000" algn="tl">
                    <a:srgbClr val="C0C0C0"/>
                  </a:outerShdw>
                </a:effectLst>
              </a:rPr>
              <a:t>players</a:t>
            </a:r>
            <a:r>
              <a:rPr lang="fr-FR" sz="2400" dirty="0">
                <a:solidFill>
                  <a:srgbClr val="000000"/>
                </a:solidFill>
                <a:effectLst>
                  <a:outerShdw blurRad="38100" dist="38100" dir="2700000" algn="tl">
                    <a:srgbClr val="C0C0C0"/>
                  </a:outerShdw>
                </a:effectLst>
              </a:rPr>
              <a:t> per </a:t>
            </a:r>
            <a:r>
              <a:rPr lang="fr-FR" sz="2400" dirty="0" err="1">
                <a:solidFill>
                  <a:srgbClr val="000000"/>
                </a:solidFill>
                <a:effectLst>
                  <a:outerShdw blurRad="38100" dist="38100" dir="2700000" algn="tl">
                    <a:srgbClr val="C0C0C0"/>
                  </a:outerShdw>
                </a:effectLst>
              </a:rPr>
              <a:t>day</a:t>
            </a:r>
            <a:r>
              <a:rPr lang="fr-FR" sz="2400" dirty="0">
                <a:solidFill>
                  <a:srgbClr val="000000"/>
                </a:solidFill>
                <a:effectLst>
                  <a:outerShdw blurRad="38100" dist="38100" dir="2700000" algn="tl">
                    <a:srgbClr val="C0C0C0"/>
                  </a:outerShdw>
                </a:effectLst>
              </a:rPr>
              <a:t>) </a:t>
            </a:r>
          </a:p>
          <a:p>
            <a:pPr lvl="1" eaLnBrk="1" hangingPunct="1">
              <a:buSzTx/>
              <a:buFont typeface="Wingdings" panose="05000000000000000000" pitchFamily="2" charset="2"/>
              <a:buChar char="«"/>
              <a:defRPr/>
            </a:pPr>
            <a:r>
              <a:rPr lang="fr-FR" sz="2400" dirty="0">
                <a:solidFill>
                  <a:srgbClr val="000000"/>
                </a:solidFill>
                <a:effectLst>
                  <a:outerShdw blurRad="38100" dist="38100" dir="2700000" algn="tl">
                    <a:srgbClr val="C0C0C0"/>
                  </a:outerShdw>
                </a:effectLst>
              </a:rPr>
              <a:t>2 </a:t>
            </a:r>
            <a:r>
              <a:rPr lang="fr-FR" sz="2400" dirty="0" err="1">
                <a:solidFill>
                  <a:srgbClr val="000000"/>
                </a:solidFill>
                <a:effectLst>
                  <a:outerShdw blurRad="38100" dist="38100" dir="2700000" algn="tl">
                    <a:srgbClr val="C0C0C0"/>
                  </a:outerShdw>
                </a:effectLst>
              </a:rPr>
              <a:t>targets</a:t>
            </a:r>
            <a:r>
              <a:rPr lang="fr-FR" sz="2400" dirty="0">
                <a:solidFill>
                  <a:srgbClr val="000000"/>
                </a:solidFill>
                <a:effectLst>
                  <a:outerShdw blurRad="38100" dist="38100" dir="2700000" algn="tl">
                    <a:srgbClr val="C0C0C0"/>
                  </a:outerShdw>
                </a:effectLst>
              </a:rPr>
              <a:t> : </a:t>
            </a:r>
            <a:r>
              <a:rPr lang="fr-FR" sz="2400" dirty="0" err="1">
                <a:solidFill>
                  <a:srgbClr val="000000"/>
                </a:solidFill>
                <a:effectLst>
                  <a:outerShdw blurRad="38100" dist="38100" dir="2700000" algn="tl">
                    <a:srgbClr val="C0C0C0"/>
                  </a:outerShdw>
                </a:effectLst>
              </a:rPr>
              <a:t>elite</a:t>
            </a:r>
            <a:r>
              <a:rPr lang="fr-FR" sz="2400" dirty="0">
                <a:solidFill>
                  <a:srgbClr val="000000"/>
                </a:solidFill>
                <a:effectLst>
                  <a:outerShdw blurRad="38100" dist="38100" dir="2700000" algn="tl">
                    <a:srgbClr val="C0C0C0"/>
                  </a:outerShdw>
                </a:effectLst>
              </a:rPr>
              <a:t> – </a:t>
            </a:r>
            <a:r>
              <a:rPr lang="fr-FR" sz="2400" dirty="0" err="1">
                <a:solidFill>
                  <a:srgbClr val="000000"/>
                </a:solidFill>
                <a:effectLst>
                  <a:outerShdw blurRad="38100" dist="38100" dir="2700000" algn="tl">
                    <a:srgbClr val="C0C0C0"/>
                  </a:outerShdw>
                </a:effectLst>
              </a:rPr>
              <a:t>teens</a:t>
            </a:r>
            <a:r>
              <a:rPr lang="fr-FR" sz="2400" dirty="0">
                <a:solidFill>
                  <a:srgbClr val="000000"/>
                </a:solidFill>
                <a:effectLst>
                  <a:outerShdw blurRad="38100" dist="38100" dir="2700000" algn="tl">
                    <a:srgbClr val="C0C0C0"/>
                  </a:outerShdw>
                </a:effectLst>
              </a:rPr>
              <a:t> (</a:t>
            </a:r>
            <a:r>
              <a:rPr lang="fr-FR" sz="2400" dirty="0" err="1">
                <a:solidFill>
                  <a:srgbClr val="000000"/>
                </a:solidFill>
                <a:effectLst>
                  <a:outerShdw blurRad="38100" dist="38100" dir="2700000" algn="tl">
                    <a:srgbClr val="C0C0C0"/>
                  </a:outerShdw>
                </a:effectLst>
              </a:rPr>
              <a:t>streetware</a:t>
            </a:r>
            <a:r>
              <a:rPr lang="fr-FR" sz="2400" dirty="0">
                <a:solidFill>
                  <a:srgbClr val="000000"/>
                </a:solidFill>
                <a:effectLst>
                  <a:outerShdw blurRad="38100" dist="38100" dir="2700000" algn="tl">
                    <a:srgbClr val="C0C0C0"/>
                  </a:outerShdw>
                </a:effectLst>
              </a:rPr>
              <a:t>) </a:t>
            </a:r>
          </a:p>
        </p:txBody>
      </p:sp>
      <p:pic>
        <p:nvPicPr>
          <p:cNvPr id="30723" name="Picture 3" descr="Champion Logo Blue"/>
          <p:cNvPicPr>
            <a:picLocks noChangeAspect="1" noChangeArrowheads="1"/>
          </p:cNvPicPr>
          <p:nvPr/>
        </p:nvPicPr>
        <p:blipFill>
          <a:blip r:embed="rId2">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4583113" y="333375"/>
            <a:ext cx="2736850" cy="88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5985563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1747" name="Picture 3" descr="logo_nike"/>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43192" y="1983751"/>
            <a:ext cx="5451627" cy="257045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1794" name="Rectangle 2"/>
          <p:cNvSpPr>
            <a:spLocks noGrp="1" noChangeArrowheads="1"/>
          </p:cNvSpPr>
          <p:nvPr>
            <p:ph idx="1"/>
          </p:nvPr>
        </p:nvSpPr>
        <p:spPr>
          <a:xfrm>
            <a:off x="6411684" y="2198914"/>
            <a:ext cx="5127172" cy="3670180"/>
          </a:xfrm>
        </p:spPr>
        <p:txBody>
          <a:bodyPr>
            <a:normAutofit fontScale="92500" lnSpcReduction="10000"/>
          </a:bodyPr>
          <a:lstStyle/>
          <a:p>
            <a:pPr eaLnBrk="1" hangingPunct="1">
              <a:buSzTx/>
              <a:buFont typeface="Wingdings" panose="05000000000000000000" pitchFamily="2" charset="2"/>
              <a:buChar char="«"/>
              <a:defRPr/>
            </a:pPr>
            <a:r>
              <a:rPr lang="fr-FR" err="1"/>
              <a:t>Visibility</a:t>
            </a:r>
            <a:r>
              <a:rPr lang="fr-FR"/>
              <a:t> activations :</a:t>
            </a:r>
          </a:p>
          <a:p>
            <a:pPr lvl="1" eaLnBrk="1" hangingPunct="1">
              <a:buSzTx/>
              <a:buFont typeface="Wingdings" panose="05000000000000000000" pitchFamily="2" charset="2"/>
              <a:buChar char="«"/>
              <a:defRPr/>
            </a:pPr>
            <a:r>
              <a:rPr lang="fr-FR" err="1"/>
              <a:t>Printed</a:t>
            </a:r>
            <a:r>
              <a:rPr lang="fr-FR"/>
              <a:t> supports logo</a:t>
            </a:r>
          </a:p>
          <a:p>
            <a:pPr lvl="1" eaLnBrk="1" hangingPunct="1">
              <a:buSzTx/>
              <a:buFont typeface="Wingdings" panose="05000000000000000000" pitchFamily="2" charset="2"/>
              <a:buChar char="«"/>
              <a:defRPr/>
            </a:pPr>
            <a:r>
              <a:rPr lang="fr-FR"/>
              <a:t>Staff </a:t>
            </a:r>
            <a:r>
              <a:rPr lang="fr-FR" err="1"/>
              <a:t>with</a:t>
            </a:r>
            <a:r>
              <a:rPr lang="fr-FR"/>
              <a:t> Nike (</a:t>
            </a:r>
            <a:r>
              <a:rPr lang="fr-FR" err="1"/>
              <a:t>shoes</a:t>
            </a:r>
            <a:r>
              <a:rPr lang="fr-FR"/>
              <a:t>) – Winners (</a:t>
            </a:r>
            <a:r>
              <a:rPr lang="fr-FR" err="1"/>
              <a:t>shoes</a:t>
            </a:r>
            <a:r>
              <a:rPr lang="fr-FR"/>
              <a:t>)</a:t>
            </a:r>
          </a:p>
          <a:p>
            <a:pPr lvl="1" eaLnBrk="1" hangingPunct="1">
              <a:buSzTx/>
              <a:buFont typeface="Wingdings" panose="05000000000000000000" pitchFamily="2" charset="2"/>
              <a:buChar char="«"/>
              <a:defRPr/>
            </a:pPr>
            <a:r>
              <a:rPr lang="fr-FR"/>
              <a:t>Court : 10 m </a:t>
            </a:r>
            <a:r>
              <a:rPr lang="fr-FR" err="1"/>
              <a:t>billboards</a:t>
            </a:r>
            <a:endParaRPr lang="fr-FR"/>
          </a:p>
          <a:p>
            <a:pPr lvl="1" eaLnBrk="1" hangingPunct="1">
              <a:buSzTx/>
              <a:buFont typeface="Wingdings" panose="05000000000000000000" pitchFamily="2" charset="2"/>
              <a:buNone/>
              <a:defRPr/>
            </a:pPr>
            <a:endParaRPr lang="fr-FR"/>
          </a:p>
          <a:p>
            <a:pPr eaLnBrk="1" hangingPunct="1">
              <a:buSzTx/>
              <a:buFont typeface="Wingdings" panose="05000000000000000000" pitchFamily="2" charset="2"/>
              <a:buChar char="«"/>
              <a:defRPr/>
            </a:pPr>
            <a:r>
              <a:rPr lang="fr-FR" err="1"/>
              <a:t>Sensemaking</a:t>
            </a:r>
            <a:r>
              <a:rPr lang="fr-FR"/>
              <a:t> activations »: </a:t>
            </a:r>
          </a:p>
          <a:p>
            <a:pPr lvl="1" eaLnBrk="1" hangingPunct="1">
              <a:buFont typeface="Wingdings" panose="05000000000000000000" pitchFamily="2" charset="2"/>
              <a:buChar char="«"/>
              <a:defRPr/>
            </a:pPr>
            <a:r>
              <a:rPr lang="fr-FR"/>
              <a:t>Nike – 3 point </a:t>
            </a:r>
            <a:r>
              <a:rPr lang="fr-FR" err="1"/>
              <a:t>shootout</a:t>
            </a:r>
            <a:endParaRPr lang="fr-FR"/>
          </a:p>
          <a:p>
            <a:pPr lvl="1" eaLnBrk="1" hangingPunct="1">
              <a:buFont typeface="Wingdings" panose="05000000000000000000" pitchFamily="2" charset="2"/>
              <a:buChar char="«"/>
              <a:defRPr/>
            </a:pPr>
            <a:r>
              <a:rPr lang="fr-FR"/>
              <a:t>Stand for </a:t>
            </a:r>
            <a:r>
              <a:rPr lang="fr-FR" err="1"/>
              <a:t>shoes</a:t>
            </a:r>
            <a:endParaRPr lang="fr-FR"/>
          </a:p>
          <a:p>
            <a:pPr lvl="1" eaLnBrk="1" hangingPunct="1">
              <a:buFont typeface="Wingdings" panose="05000000000000000000" pitchFamily="2" charset="2"/>
              <a:buChar char="«"/>
              <a:defRPr/>
            </a:pPr>
            <a:r>
              <a:rPr lang="fr-FR"/>
              <a:t>Jordan Camps </a:t>
            </a:r>
            <a:r>
              <a:rPr lang="fr-FR" err="1"/>
              <a:t>recruitment</a:t>
            </a:r>
            <a:r>
              <a:rPr lang="fr-FR"/>
              <a:t> : buzz</a:t>
            </a:r>
          </a:p>
        </p:txBody>
      </p:sp>
    </p:spTree>
    <p:extLst>
      <p:ext uri="{BB962C8B-B14F-4D97-AF65-F5344CB8AC3E}">
        <p14:creationId xmlns:p14="http://schemas.microsoft.com/office/powerpoint/2010/main" val="173656195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2"/>
          <p:cNvSpPr>
            <a:spLocks noGrp="1" noChangeArrowheads="1"/>
          </p:cNvSpPr>
          <p:nvPr>
            <p:ph idx="1"/>
          </p:nvPr>
        </p:nvSpPr>
        <p:spPr/>
        <p:txBody>
          <a:bodyPr/>
          <a:lstStyle/>
          <a:p>
            <a:pPr eaLnBrk="1" hangingPunct="1">
              <a:lnSpc>
                <a:spcPct val="90000"/>
              </a:lnSpc>
              <a:buSzTx/>
              <a:buFont typeface="Wingdings" panose="05000000000000000000" pitchFamily="2" charset="2"/>
              <a:buChar char="«"/>
              <a:defRPr/>
            </a:pPr>
            <a:r>
              <a:rPr lang="fr-FR" sz="2400" dirty="0" err="1">
                <a:solidFill>
                  <a:srgbClr val="000000"/>
                </a:solidFill>
                <a:effectLst>
                  <a:outerShdw blurRad="38100" dist="38100" dir="2700000" algn="tl">
                    <a:srgbClr val="C0C0C0"/>
                  </a:outerShdw>
                </a:effectLst>
              </a:rPr>
              <a:t>Visibility</a:t>
            </a:r>
            <a:r>
              <a:rPr lang="fr-FR" sz="2400" dirty="0">
                <a:solidFill>
                  <a:srgbClr val="000000"/>
                </a:solidFill>
                <a:effectLst>
                  <a:outerShdw blurRad="38100" dist="38100" dir="2700000" algn="tl">
                    <a:srgbClr val="C0C0C0"/>
                  </a:outerShdw>
                </a:effectLst>
              </a:rPr>
              <a:t> activations :</a:t>
            </a:r>
          </a:p>
          <a:p>
            <a:pPr lvl="1" eaLnBrk="1" hangingPunct="1">
              <a:lnSpc>
                <a:spcPct val="90000"/>
              </a:lnSpc>
              <a:buSzTx/>
              <a:buFont typeface="Wingdings" panose="05000000000000000000" pitchFamily="2" charset="2"/>
              <a:buChar char="«"/>
              <a:defRPr/>
            </a:pPr>
            <a:r>
              <a:rPr lang="fr-FR" sz="2000" dirty="0" err="1">
                <a:solidFill>
                  <a:srgbClr val="000000"/>
                </a:solidFill>
                <a:effectLst>
                  <a:outerShdw blurRad="38100" dist="38100" dir="2700000" algn="tl">
                    <a:srgbClr val="C0C0C0"/>
                  </a:outerShdw>
                </a:effectLst>
              </a:rPr>
              <a:t>Printed</a:t>
            </a:r>
            <a:r>
              <a:rPr lang="fr-FR" sz="2000" dirty="0">
                <a:solidFill>
                  <a:srgbClr val="000000"/>
                </a:solidFill>
                <a:effectLst>
                  <a:outerShdw blurRad="38100" dist="38100" dir="2700000" algn="tl">
                    <a:srgbClr val="C0C0C0"/>
                  </a:outerShdw>
                </a:effectLst>
              </a:rPr>
              <a:t> supports logo</a:t>
            </a:r>
          </a:p>
          <a:p>
            <a:pPr lvl="1" eaLnBrk="1" hangingPunct="1">
              <a:lnSpc>
                <a:spcPct val="90000"/>
              </a:lnSpc>
              <a:buSzTx/>
              <a:buFont typeface="Wingdings" panose="05000000000000000000" pitchFamily="2" charset="2"/>
              <a:buChar char="«"/>
              <a:defRPr/>
            </a:pPr>
            <a:r>
              <a:rPr lang="fr-FR" sz="2000" dirty="0">
                <a:solidFill>
                  <a:srgbClr val="000000"/>
                </a:solidFill>
                <a:effectLst>
                  <a:outerShdw blurRad="38100" dist="38100" dir="2700000" algn="tl">
                    <a:srgbClr val="C0C0C0"/>
                  </a:outerShdw>
                </a:effectLst>
              </a:rPr>
              <a:t>Referees / Foot </a:t>
            </a:r>
            <a:r>
              <a:rPr lang="fr-FR" sz="2000" dirty="0" err="1">
                <a:solidFill>
                  <a:srgbClr val="000000"/>
                </a:solidFill>
                <a:effectLst>
                  <a:outerShdw blurRad="38100" dist="38100" dir="2700000" algn="tl">
                    <a:srgbClr val="C0C0C0"/>
                  </a:outerShdw>
                </a:effectLst>
              </a:rPr>
              <a:t>Locker</a:t>
            </a:r>
            <a:r>
              <a:rPr lang="fr-FR" sz="2000" dirty="0">
                <a:solidFill>
                  <a:srgbClr val="000000"/>
                </a:solidFill>
                <a:effectLst>
                  <a:outerShdw blurRad="38100" dist="38100" dir="2700000" algn="tl">
                    <a:srgbClr val="C0C0C0"/>
                  </a:outerShdw>
                </a:effectLst>
              </a:rPr>
              <a:t> </a:t>
            </a:r>
            <a:r>
              <a:rPr lang="fr-FR" sz="2000" dirty="0" err="1">
                <a:solidFill>
                  <a:srgbClr val="000000"/>
                </a:solidFill>
                <a:effectLst>
                  <a:outerShdw blurRad="38100" dist="38100" dir="2700000" algn="tl">
                    <a:srgbClr val="C0C0C0"/>
                  </a:outerShdw>
                </a:effectLst>
              </a:rPr>
              <a:t>clothes</a:t>
            </a:r>
            <a:r>
              <a:rPr lang="fr-FR" sz="2000" dirty="0">
                <a:solidFill>
                  <a:srgbClr val="000000"/>
                </a:solidFill>
                <a:effectLst>
                  <a:outerShdw blurRad="38100" dist="38100" dir="2700000" algn="tl">
                    <a:srgbClr val="C0C0C0"/>
                  </a:outerShdw>
                </a:effectLst>
              </a:rPr>
              <a:t> </a:t>
            </a:r>
          </a:p>
          <a:p>
            <a:pPr lvl="1" eaLnBrk="1" hangingPunct="1">
              <a:lnSpc>
                <a:spcPct val="90000"/>
              </a:lnSpc>
              <a:buSzTx/>
              <a:buFont typeface="Wingdings" panose="05000000000000000000" pitchFamily="2" charset="2"/>
              <a:buChar char="«"/>
              <a:defRPr/>
            </a:pPr>
            <a:r>
              <a:rPr lang="fr-FR" sz="2000" dirty="0">
                <a:solidFill>
                  <a:srgbClr val="000000"/>
                </a:solidFill>
                <a:effectLst>
                  <a:outerShdw blurRad="38100" dist="38100" dir="2700000" algn="tl">
                    <a:srgbClr val="C0C0C0"/>
                  </a:outerShdw>
                </a:effectLst>
              </a:rPr>
              <a:t>Court : 10 m </a:t>
            </a:r>
            <a:r>
              <a:rPr lang="fr-FR" sz="2000" dirty="0" err="1">
                <a:solidFill>
                  <a:srgbClr val="000000"/>
                </a:solidFill>
                <a:effectLst>
                  <a:outerShdw blurRad="38100" dist="38100" dir="2700000" algn="tl">
                    <a:srgbClr val="C0C0C0"/>
                  </a:outerShdw>
                </a:effectLst>
              </a:rPr>
              <a:t>billboards</a:t>
            </a:r>
            <a:endParaRPr lang="fr-FR" sz="2000" dirty="0">
              <a:solidFill>
                <a:srgbClr val="000000"/>
              </a:solidFill>
              <a:effectLst>
                <a:outerShdw blurRad="38100" dist="38100" dir="2700000" algn="tl">
                  <a:srgbClr val="C0C0C0"/>
                </a:outerShdw>
              </a:effectLst>
            </a:endParaRPr>
          </a:p>
          <a:p>
            <a:pPr lvl="1" eaLnBrk="1" hangingPunct="1">
              <a:lnSpc>
                <a:spcPct val="90000"/>
              </a:lnSpc>
              <a:buSzTx/>
              <a:buFont typeface="Wingdings" panose="05000000000000000000" pitchFamily="2" charset="2"/>
              <a:buNone/>
              <a:defRPr/>
            </a:pPr>
            <a:endParaRPr lang="fr-FR" sz="2000" dirty="0">
              <a:solidFill>
                <a:srgbClr val="000000"/>
              </a:solidFill>
              <a:effectLst>
                <a:outerShdw blurRad="38100" dist="38100" dir="2700000" algn="tl">
                  <a:srgbClr val="C0C0C0"/>
                </a:outerShdw>
              </a:effectLst>
            </a:endParaRPr>
          </a:p>
          <a:p>
            <a:pPr eaLnBrk="1" hangingPunct="1">
              <a:lnSpc>
                <a:spcPct val="90000"/>
              </a:lnSpc>
              <a:buSzTx/>
              <a:buFont typeface="Wingdings" panose="05000000000000000000" pitchFamily="2" charset="2"/>
              <a:buChar char="«"/>
              <a:defRPr/>
            </a:pPr>
            <a:r>
              <a:rPr lang="fr-FR" sz="2400" dirty="0" err="1">
                <a:solidFill>
                  <a:srgbClr val="000000"/>
                </a:solidFill>
                <a:effectLst>
                  <a:outerShdw blurRad="38100" dist="38100" dir="2700000" algn="tl">
                    <a:srgbClr val="C0C0C0"/>
                  </a:outerShdw>
                </a:effectLst>
              </a:rPr>
              <a:t>Sensemaking</a:t>
            </a:r>
            <a:r>
              <a:rPr lang="fr-FR" sz="2400" dirty="0">
                <a:solidFill>
                  <a:srgbClr val="000000"/>
                </a:solidFill>
                <a:effectLst>
                  <a:outerShdw blurRad="38100" dist="38100" dir="2700000" algn="tl">
                    <a:srgbClr val="C0C0C0"/>
                  </a:outerShdw>
                </a:effectLst>
              </a:rPr>
              <a:t> activations : </a:t>
            </a:r>
          </a:p>
          <a:p>
            <a:pPr lvl="1" eaLnBrk="1" hangingPunct="1">
              <a:lnSpc>
                <a:spcPct val="90000"/>
              </a:lnSpc>
              <a:buFont typeface="Wingdings" panose="05000000000000000000" pitchFamily="2" charset="2"/>
              <a:buChar char="«"/>
              <a:defRPr/>
            </a:pPr>
            <a:r>
              <a:rPr lang="fr-FR" sz="2000" dirty="0">
                <a:solidFill>
                  <a:srgbClr val="000000"/>
                </a:solidFill>
                <a:effectLst>
                  <a:outerShdw blurRad="38100" dist="38100" dir="2700000" algn="tl">
                    <a:srgbClr val="C0C0C0"/>
                  </a:outerShdw>
                </a:effectLst>
              </a:rPr>
              <a:t>Flyers + </a:t>
            </a:r>
            <a:r>
              <a:rPr lang="fr-FR" sz="2000" dirty="0" err="1">
                <a:solidFill>
                  <a:srgbClr val="000000"/>
                </a:solidFill>
                <a:effectLst>
                  <a:outerShdw blurRad="38100" dist="38100" dir="2700000" algn="tl">
                    <a:srgbClr val="C0C0C0"/>
                  </a:outerShdw>
                </a:effectLst>
              </a:rPr>
              <a:t>website</a:t>
            </a:r>
            <a:r>
              <a:rPr lang="fr-FR" sz="2000" dirty="0">
                <a:solidFill>
                  <a:srgbClr val="000000"/>
                </a:solidFill>
                <a:effectLst>
                  <a:outerShdw blurRad="38100" dist="38100" dir="2700000" algn="tl">
                    <a:srgbClr val="C0C0C0"/>
                  </a:outerShdw>
                </a:effectLst>
              </a:rPr>
              <a:t> NBA jam 06 : Foot </a:t>
            </a:r>
            <a:r>
              <a:rPr lang="fr-FR" sz="2000" dirty="0" err="1">
                <a:solidFill>
                  <a:srgbClr val="000000"/>
                </a:solidFill>
                <a:effectLst>
                  <a:outerShdw blurRad="38100" dist="38100" dir="2700000" algn="tl">
                    <a:srgbClr val="C0C0C0"/>
                  </a:outerShdw>
                </a:effectLst>
              </a:rPr>
              <a:t>Locker</a:t>
            </a:r>
            <a:r>
              <a:rPr lang="fr-FR" sz="2000" dirty="0">
                <a:solidFill>
                  <a:srgbClr val="000000"/>
                </a:solidFill>
                <a:effectLst>
                  <a:outerShdw blurRad="38100" dist="38100" dir="2700000" algn="tl">
                    <a:srgbClr val="C0C0C0"/>
                  </a:outerShdw>
                </a:effectLst>
              </a:rPr>
              <a:t> shop to </a:t>
            </a:r>
            <a:r>
              <a:rPr lang="fr-FR" sz="2000" dirty="0" err="1">
                <a:solidFill>
                  <a:srgbClr val="000000"/>
                </a:solidFill>
                <a:effectLst>
                  <a:outerShdw blurRad="38100" dist="38100" dir="2700000" algn="tl">
                    <a:srgbClr val="C0C0C0"/>
                  </a:outerShdw>
                </a:effectLst>
              </a:rPr>
              <a:t>get</a:t>
            </a:r>
            <a:r>
              <a:rPr lang="fr-FR" sz="2000" dirty="0">
                <a:solidFill>
                  <a:srgbClr val="000000"/>
                </a:solidFill>
                <a:effectLst>
                  <a:outerShdw blurRad="38100" dist="38100" dir="2700000" algn="tl">
                    <a:srgbClr val="C0C0C0"/>
                  </a:outerShdw>
                </a:effectLst>
              </a:rPr>
              <a:t> </a:t>
            </a:r>
            <a:r>
              <a:rPr lang="fr-FR" sz="2000" dirty="0" err="1">
                <a:solidFill>
                  <a:srgbClr val="000000"/>
                </a:solidFill>
                <a:effectLst>
                  <a:outerShdw blurRad="38100" dist="38100" dir="2700000" algn="tl">
                    <a:srgbClr val="C0C0C0"/>
                  </a:outerShdw>
                </a:effectLst>
              </a:rPr>
              <a:t>your</a:t>
            </a:r>
            <a:r>
              <a:rPr lang="fr-FR" sz="2000" dirty="0">
                <a:solidFill>
                  <a:srgbClr val="000000"/>
                </a:solidFill>
                <a:effectLst>
                  <a:outerShdw blurRad="38100" dist="38100" dir="2700000" algn="tl">
                    <a:srgbClr val="C0C0C0"/>
                  </a:outerShdw>
                </a:effectLst>
              </a:rPr>
              <a:t> ticket to </a:t>
            </a:r>
            <a:r>
              <a:rPr lang="fr-FR" sz="2000" dirty="0" err="1">
                <a:solidFill>
                  <a:srgbClr val="000000"/>
                </a:solidFill>
                <a:effectLst>
                  <a:outerShdw blurRad="38100" dist="38100" dir="2700000" algn="tl">
                    <a:srgbClr val="C0C0C0"/>
                  </a:outerShdw>
                </a:effectLst>
              </a:rPr>
              <a:t>play</a:t>
            </a:r>
            <a:r>
              <a:rPr lang="fr-FR" sz="2000" dirty="0">
                <a:solidFill>
                  <a:srgbClr val="000000"/>
                </a:solidFill>
                <a:effectLst>
                  <a:outerShdw blurRad="38100" dist="38100" dir="2700000" algn="tl">
                    <a:srgbClr val="C0C0C0"/>
                  </a:outerShdw>
                </a:effectLst>
              </a:rPr>
              <a:t> </a:t>
            </a:r>
          </a:p>
          <a:p>
            <a:pPr lvl="1" eaLnBrk="1" hangingPunct="1">
              <a:lnSpc>
                <a:spcPct val="90000"/>
              </a:lnSpc>
              <a:buFont typeface="Wingdings" panose="05000000000000000000" pitchFamily="2" charset="2"/>
              <a:buChar char="«"/>
              <a:defRPr/>
            </a:pPr>
            <a:r>
              <a:rPr lang="fr-FR" sz="2000" dirty="0">
                <a:solidFill>
                  <a:srgbClr val="000000"/>
                </a:solidFill>
                <a:effectLst>
                  <a:outerShdw blurRad="38100" dist="38100" dir="2700000" algn="tl">
                    <a:srgbClr val="C0C0C0"/>
                  </a:outerShdw>
                </a:effectLst>
              </a:rPr>
              <a:t>Game « Foot </a:t>
            </a:r>
            <a:r>
              <a:rPr lang="fr-FR" sz="2000" dirty="0" err="1">
                <a:solidFill>
                  <a:srgbClr val="000000"/>
                </a:solidFill>
                <a:effectLst>
                  <a:outerShdw blurRad="38100" dist="38100" dir="2700000" algn="tl">
                    <a:srgbClr val="C0C0C0"/>
                  </a:outerShdw>
                </a:effectLst>
              </a:rPr>
              <a:t>Locker</a:t>
            </a:r>
            <a:r>
              <a:rPr lang="fr-FR" sz="2000" dirty="0">
                <a:solidFill>
                  <a:srgbClr val="000000"/>
                </a:solidFill>
                <a:effectLst>
                  <a:outerShdw blurRad="38100" dist="38100" dir="2700000" algn="tl">
                    <a:srgbClr val="C0C0C0"/>
                  </a:outerShdw>
                </a:effectLst>
              </a:rPr>
              <a:t> 10 000€ » : shoot </a:t>
            </a:r>
            <a:r>
              <a:rPr lang="fr-FR" sz="2000" dirty="0" err="1">
                <a:solidFill>
                  <a:srgbClr val="000000"/>
                </a:solidFill>
                <a:effectLst>
                  <a:outerShdw blurRad="38100" dist="38100" dir="2700000" algn="tl">
                    <a:srgbClr val="C0C0C0"/>
                  </a:outerShdw>
                </a:effectLst>
              </a:rPr>
              <a:t>from</a:t>
            </a:r>
            <a:r>
              <a:rPr lang="fr-FR" sz="2000" dirty="0">
                <a:solidFill>
                  <a:srgbClr val="000000"/>
                </a:solidFill>
                <a:effectLst>
                  <a:outerShdw blurRad="38100" dist="38100" dir="2700000" algn="tl">
                    <a:srgbClr val="C0C0C0"/>
                  </a:outerShdw>
                </a:effectLst>
              </a:rPr>
              <a:t> the center of the court.</a:t>
            </a:r>
          </a:p>
          <a:p>
            <a:pPr lvl="1" eaLnBrk="1" hangingPunct="1">
              <a:lnSpc>
                <a:spcPct val="90000"/>
              </a:lnSpc>
              <a:buFont typeface="Wingdings" panose="05000000000000000000" pitchFamily="2" charset="2"/>
              <a:buChar char="«"/>
              <a:defRPr/>
            </a:pPr>
            <a:r>
              <a:rPr lang="fr-FR" sz="2000" dirty="0" err="1">
                <a:solidFill>
                  <a:srgbClr val="000000"/>
                </a:solidFill>
                <a:effectLst>
                  <a:outerShdw blurRad="38100" dist="38100" dir="2700000" algn="tl">
                    <a:srgbClr val="C0C0C0"/>
                  </a:outerShdw>
                </a:effectLst>
              </a:rPr>
              <a:t>Promotional</a:t>
            </a:r>
            <a:r>
              <a:rPr lang="fr-FR" sz="2000" dirty="0">
                <a:solidFill>
                  <a:srgbClr val="000000"/>
                </a:solidFill>
                <a:effectLst>
                  <a:outerShdw blurRad="38100" dist="38100" dir="2700000" algn="tl">
                    <a:srgbClr val="C0C0C0"/>
                  </a:outerShdw>
                </a:effectLst>
              </a:rPr>
              <a:t> coupons for </a:t>
            </a:r>
            <a:r>
              <a:rPr lang="fr-FR" sz="2000" dirty="0" err="1">
                <a:solidFill>
                  <a:srgbClr val="000000"/>
                </a:solidFill>
                <a:effectLst>
                  <a:outerShdw blurRad="38100" dist="38100" dir="2700000" algn="tl">
                    <a:srgbClr val="C0C0C0"/>
                  </a:outerShdw>
                </a:effectLst>
              </a:rPr>
              <a:t>players</a:t>
            </a:r>
            <a:r>
              <a:rPr lang="fr-FR" sz="2000" dirty="0">
                <a:solidFill>
                  <a:srgbClr val="000000"/>
                </a:solidFill>
                <a:effectLst>
                  <a:outerShdw blurRad="38100" dist="38100" dir="2700000" algn="tl">
                    <a:srgbClr val="C0C0C0"/>
                  </a:outerShdw>
                </a:effectLst>
              </a:rPr>
              <a:t> and winners </a:t>
            </a:r>
          </a:p>
        </p:txBody>
      </p:sp>
      <p:pic>
        <p:nvPicPr>
          <p:cNvPr id="32771" name="Picture 3" descr="footlock_rgb"/>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32401" y="260350"/>
            <a:ext cx="1368425"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5051432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Rectangle 2"/>
          <p:cNvSpPr>
            <a:spLocks noGrp="1" noChangeArrowheads="1"/>
          </p:cNvSpPr>
          <p:nvPr>
            <p:ph idx="1"/>
          </p:nvPr>
        </p:nvSpPr>
        <p:spPr/>
        <p:txBody>
          <a:bodyPr>
            <a:normAutofit/>
          </a:bodyPr>
          <a:lstStyle/>
          <a:p>
            <a:pPr eaLnBrk="1" hangingPunct="1">
              <a:lnSpc>
                <a:spcPct val="90000"/>
              </a:lnSpc>
              <a:buSzTx/>
              <a:buFont typeface="Wingdings" panose="05000000000000000000" pitchFamily="2" charset="2"/>
              <a:buChar char="«"/>
              <a:defRPr/>
            </a:pPr>
            <a:r>
              <a:rPr lang="fr-FR" sz="2800" dirty="0" err="1">
                <a:solidFill>
                  <a:schemeClr val="tx1"/>
                </a:solidFill>
              </a:rPr>
              <a:t>Visibility</a:t>
            </a:r>
            <a:r>
              <a:rPr lang="fr-FR" sz="2800" dirty="0">
                <a:solidFill>
                  <a:schemeClr val="tx1"/>
                </a:solidFill>
              </a:rPr>
              <a:t> activations:</a:t>
            </a:r>
          </a:p>
          <a:p>
            <a:pPr lvl="1" eaLnBrk="1" hangingPunct="1">
              <a:lnSpc>
                <a:spcPct val="90000"/>
              </a:lnSpc>
              <a:buSzTx/>
              <a:buFont typeface="Wingdings" panose="05000000000000000000" pitchFamily="2" charset="2"/>
              <a:buChar char="«"/>
              <a:defRPr/>
            </a:pPr>
            <a:r>
              <a:rPr lang="fr-FR" sz="2400" dirty="0" err="1">
                <a:solidFill>
                  <a:schemeClr val="tx1"/>
                </a:solidFill>
              </a:rPr>
              <a:t>Printed</a:t>
            </a:r>
            <a:r>
              <a:rPr lang="fr-FR" sz="2400" dirty="0">
                <a:solidFill>
                  <a:schemeClr val="tx1"/>
                </a:solidFill>
              </a:rPr>
              <a:t> supports logo</a:t>
            </a:r>
          </a:p>
          <a:p>
            <a:pPr lvl="1" eaLnBrk="1" hangingPunct="1">
              <a:lnSpc>
                <a:spcPct val="90000"/>
              </a:lnSpc>
              <a:buSzTx/>
              <a:buFont typeface="Wingdings" panose="05000000000000000000" pitchFamily="2" charset="2"/>
              <a:buChar char="«"/>
              <a:defRPr/>
            </a:pPr>
            <a:r>
              <a:rPr lang="fr-FR" sz="2400" dirty="0">
                <a:solidFill>
                  <a:schemeClr val="tx1"/>
                </a:solidFill>
              </a:rPr>
              <a:t>EA Sports </a:t>
            </a:r>
            <a:r>
              <a:rPr lang="fr-FR" sz="2400" dirty="0" err="1">
                <a:solidFill>
                  <a:schemeClr val="tx1"/>
                </a:solidFill>
              </a:rPr>
              <a:t>Lounge</a:t>
            </a:r>
            <a:r>
              <a:rPr lang="fr-FR" sz="2400" dirty="0">
                <a:solidFill>
                  <a:schemeClr val="tx1"/>
                </a:solidFill>
              </a:rPr>
              <a:t> area </a:t>
            </a:r>
          </a:p>
          <a:p>
            <a:pPr lvl="1" eaLnBrk="1" hangingPunct="1">
              <a:lnSpc>
                <a:spcPct val="90000"/>
              </a:lnSpc>
              <a:buSzTx/>
              <a:buFont typeface="Wingdings" panose="05000000000000000000" pitchFamily="2" charset="2"/>
              <a:buChar char="«"/>
              <a:defRPr/>
            </a:pPr>
            <a:r>
              <a:rPr lang="fr-FR" sz="2400" dirty="0">
                <a:solidFill>
                  <a:schemeClr val="tx1"/>
                </a:solidFill>
              </a:rPr>
              <a:t>Court n°2 : EA Sports 10 m </a:t>
            </a:r>
            <a:r>
              <a:rPr lang="fr-FR" sz="2400" dirty="0" err="1">
                <a:solidFill>
                  <a:schemeClr val="tx1"/>
                </a:solidFill>
              </a:rPr>
              <a:t>billboards</a:t>
            </a:r>
            <a:endParaRPr lang="fr-FR" sz="2400" dirty="0">
              <a:solidFill>
                <a:schemeClr val="tx1"/>
              </a:solidFill>
            </a:endParaRPr>
          </a:p>
          <a:p>
            <a:pPr lvl="1" eaLnBrk="1" hangingPunct="1">
              <a:lnSpc>
                <a:spcPct val="90000"/>
              </a:lnSpc>
              <a:buSzTx/>
              <a:buFont typeface="Wingdings" panose="05000000000000000000" pitchFamily="2" charset="2"/>
              <a:buNone/>
              <a:defRPr/>
            </a:pPr>
            <a:endParaRPr lang="fr-FR" sz="2400" dirty="0">
              <a:solidFill>
                <a:schemeClr val="tx1"/>
              </a:solidFill>
            </a:endParaRPr>
          </a:p>
          <a:p>
            <a:pPr eaLnBrk="1" hangingPunct="1">
              <a:lnSpc>
                <a:spcPct val="90000"/>
              </a:lnSpc>
              <a:buSzTx/>
              <a:buFont typeface="Wingdings" panose="05000000000000000000" pitchFamily="2" charset="2"/>
              <a:buChar char="«"/>
              <a:defRPr/>
            </a:pPr>
            <a:r>
              <a:rPr lang="fr-FR" sz="2800" dirty="0" err="1">
                <a:solidFill>
                  <a:schemeClr val="tx1"/>
                </a:solidFill>
              </a:rPr>
              <a:t>Sensemaking</a:t>
            </a:r>
            <a:r>
              <a:rPr lang="fr-FR" sz="2800" dirty="0">
                <a:solidFill>
                  <a:schemeClr val="tx1"/>
                </a:solidFill>
              </a:rPr>
              <a:t> activations</a:t>
            </a:r>
          </a:p>
          <a:p>
            <a:pPr lvl="1" eaLnBrk="1" hangingPunct="1">
              <a:lnSpc>
                <a:spcPct val="90000"/>
              </a:lnSpc>
              <a:buFont typeface="Wingdings" panose="05000000000000000000" pitchFamily="2" charset="2"/>
              <a:buChar char="«"/>
              <a:defRPr/>
            </a:pPr>
            <a:r>
              <a:rPr lang="fr-FR" sz="2400" dirty="0">
                <a:solidFill>
                  <a:schemeClr val="tx1"/>
                </a:solidFill>
              </a:rPr>
              <a:t>NBA Live 07 </a:t>
            </a:r>
            <a:r>
              <a:rPr lang="fr-FR" sz="2400" dirty="0" err="1">
                <a:solidFill>
                  <a:schemeClr val="tx1"/>
                </a:solidFill>
              </a:rPr>
              <a:t>video</a:t>
            </a:r>
            <a:r>
              <a:rPr lang="fr-FR" sz="2400" dirty="0">
                <a:solidFill>
                  <a:schemeClr val="tx1"/>
                </a:solidFill>
              </a:rPr>
              <a:t> </a:t>
            </a:r>
            <a:r>
              <a:rPr lang="fr-FR" sz="2400" dirty="0" err="1">
                <a:solidFill>
                  <a:schemeClr val="tx1"/>
                </a:solidFill>
              </a:rPr>
              <a:t>game</a:t>
            </a:r>
            <a:r>
              <a:rPr lang="fr-FR" sz="2400" dirty="0">
                <a:solidFill>
                  <a:schemeClr val="tx1"/>
                </a:solidFill>
              </a:rPr>
              <a:t> promotion </a:t>
            </a:r>
            <a:r>
              <a:rPr lang="fr-FR" sz="2400" dirty="0" err="1">
                <a:solidFill>
                  <a:schemeClr val="tx1"/>
                </a:solidFill>
              </a:rPr>
              <a:t>with</a:t>
            </a:r>
            <a:r>
              <a:rPr lang="fr-FR" sz="2400" dirty="0">
                <a:solidFill>
                  <a:schemeClr val="tx1"/>
                </a:solidFill>
              </a:rPr>
              <a:t> stands </a:t>
            </a:r>
          </a:p>
          <a:p>
            <a:pPr lvl="1" eaLnBrk="1" hangingPunct="1">
              <a:lnSpc>
                <a:spcPct val="90000"/>
              </a:lnSpc>
              <a:buFont typeface="Wingdings" panose="05000000000000000000" pitchFamily="2" charset="2"/>
              <a:buChar char="«"/>
              <a:defRPr/>
            </a:pPr>
            <a:r>
              <a:rPr lang="fr-FR" sz="2400" dirty="0">
                <a:solidFill>
                  <a:schemeClr val="tx1"/>
                </a:solidFill>
              </a:rPr>
              <a:t>Virtual </a:t>
            </a:r>
            <a:r>
              <a:rPr lang="fr-FR" sz="2400" dirty="0" err="1">
                <a:solidFill>
                  <a:schemeClr val="tx1"/>
                </a:solidFill>
              </a:rPr>
              <a:t>tournament</a:t>
            </a:r>
            <a:r>
              <a:rPr lang="fr-FR" sz="2400" dirty="0">
                <a:solidFill>
                  <a:schemeClr val="tx1"/>
                </a:solidFill>
              </a:rPr>
              <a:t> : </a:t>
            </a:r>
            <a:r>
              <a:rPr lang="fr-FR" sz="2400" dirty="0" err="1">
                <a:solidFill>
                  <a:schemeClr val="tx1"/>
                </a:solidFill>
              </a:rPr>
              <a:t>European</a:t>
            </a:r>
            <a:r>
              <a:rPr lang="fr-FR" sz="2400" dirty="0">
                <a:solidFill>
                  <a:schemeClr val="tx1"/>
                </a:solidFill>
              </a:rPr>
              <a:t> finals (</a:t>
            </a:r>
            <a:r>
              <a:rPr lang="fr-FR" sz="2400" dirty="0" err="1">
                <a:solidFill>
                  <a:schemeClr val="tx1"/>
                </a:solidFill>
              </a:rPr>
              <a:t>finalists</a:t>
            </a:r>
            <a:r>
              <a:rPr lang="fr-FR" sz="2400" dirty="0">
                <a:solidFill>
                  <a:schemeClr val="tx1"/>
                </a:solidFill>
              </a:rPr>
              <a:t> : match </a:t>
            </a:r>
            <a:r>
              <a:rPr lang="fr-FR" sz="2400" dirty="0" err="1">
                <a:solidFill>
                  <a:schemeClr val="tx1"/>
                </a:solidFill>
              </a:rPr>
              <a:t>Suns</a:t>
            </a:r>
            <a:r>
              <a:rPr lang="fr-FR" sz="2400" dirty="0">
                <a:solidFill>
                  <a:schemeClr val="tx1"/>
                </a:solidFill>
              </a:rPr>
              <a:t> / </a:t>
            </a:r>
            <a:r>
              <a:rPr lang="fr-FR" sz="2400" dirty="0" err="1">
                <a:solidFill>
                  <a:schemeClr val="tx1"/>
                </a:solidFill>
              </a:rPr>
              <a:t>Sixers</a:t>
            </a:r>
            <a:r>
              <a:rPr lang="fr-FR" sz="2400" dirty="0">
                <a:solidFill>
                  <a:schemeClr val="tx1"/>
                </a:solidFill>
              </a:rPr>
              <a:t>  – Winners : All star Game invitation in Las Vegas 07)</a:t>
            </a:r>
          </a:p>
        </p:txBody>
      </p:sp>
      <p:pic>
        <p:nvPicPr>
          <p:cNvPr id="33795" name="Picture 3" descr="NBA07franch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32400" y="260350"/>
            <a:ext cx="1295400"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5089596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41314" name="Rectangle 2"/>
          <p:cNvSpPr>
            <a:spLocks noGrp="1" noChangeArrowheads="1"/>
          </p:cNvSpPr>
          <p:nvPr>
            <p:ph idx="1"/>
          </p:nvPr>
        </p:nvSpPr>
        <p:spPr>
          <a:xfrm>
            <a:off x="1992313" y="1268414"/>
            <a:ext cx="8229600" cy="676275"/>
          </a:xfrm>
        </p:spPr>
        <p:txBody>
          <a:bodyPr/>
          <a:lstStyle/>
          <a:p>
            <a:pPr algn="ctr" eaLnBrk="1" hangingPunct="1">
              <a:buSzTx/>
              <a:buFont typeface="Wingdings" panose="05000000000000000000" pitchFamily="2" charset="2"/>
              <a:buNone/>
              <a:defRPr/>
            </a:pPr>
            <a:r>
              <a:rPr lang="fr-FR" b="1" dirty="0">
                <a:solidFill>
                  <a:srgbClr val="000000"/>
                </a:solidFill>
                <a:effectLst>
                  <a:outerShdw blurRad="38100" dist="38100" dir="2700000" algn="tl">
                    <a:srgbClr val="C0C0C0"/>
                  </a:outerShdw>
                </a:effectLst>
              </a:rPr>
              <a:t>Fan </a:t>
            </a:r>
            <a:r>
              <a:rPr lang="fr-FR" b="1" dirty="0" err="1">
                <a:solidFill>
                  <a:srgbClr val="000000"/>
                </a:solidFill>
                <a:effectLst>
                  <a:outerShdw blurRad="38100" dist="38100" dir="2700000" algn="tl">
                    <a:srgbClr val="C0C0C0"/>
                  </a:outerShdw>
                </a:effectLst>
              </a:rPr>
              <a:t>Fest</a:t>
            </a:r>
            <a:r>
              <a:rPr lang="fr-FR" b="1" dirty="0">
                <a:solidFill>
                  <a:srgbClr val="000000"/>
                </a:solidFill>
                <a:effectLst>
                  <a:outerShdw blurRad="38100" dist="38100" dir="2700000" algn="tl">
                    <a:srgbClr val="C0C0C0"/>
                  </a:outerShdw>
                </a:effectLst>
              </a:rPr>
              <a:t> </a:t>
            </a:r>
          </a:p>
          <a:p>
            <a:pPr eaLnBrk="1" hangingPunct="1">
              <a:buSzTx/>
              <a:buFont typeface="Wingdings" panose="05000000000000000000" pitchFamily="2" charset="2"/>
              <a:buChar char="«"/>
              <a:defRPr/>
            </a:pPr>
            <a:endParaRPr lang="fr-FR" b="1" dirty="0">
              <a:solidFill>
                <a:srgbClr val="000000"/>
              </a:solidFill>
              <a:effectLst>
                <a:outerShdw blurRad="38100" dist="38100" dir="2700000" algn="tl">
                  <a:srgbClr val="C0C0C0"/>
                </a:outerShdw>
              </a:effectLst>
            </a:endParaRPr>
          </a:p>
        </p:txBody>
      </p:sp>
      <p:pic>
        <p:nvPicPr>
          <p:cNvPr id="37891" name="Picture 3" descr="WorldCup200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03838" y="260351"/>
            <a:ext cx="2019300" cy="885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2" name="Picture 4" descr="Cologn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30311" y="1826617"/>
            <a:ext cx="7018338" cy="440626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494908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2"/>
          <p:cNvSpPr>
            <a:spLocks noGrp="1" noChangeArrowheads="1"/>
          </p:cNvSpPr>
          <p:nvPr>
            <p:ph idx="1"/>
          </p:nvPr>
        </p:nvSpPr>
        <p:spPr>
          <a:xfrm>
            <a:off x="1230489" y="1125539"/>
            <a:ext cx="5081411" cy="4967287"/>
          </a:xfrm>
        </p:spPr>
        <p:txBody>
          <a:bodyPr/>
          <a:lstStyle/>
          <a:p>
            <a:pPr eaLnBrk="1" hangingPunct="1">
              <a:lnSpc>
                <a:spcPct val="80000"/>
              </a:lnSpc>
              <a:buSzTx/>
              <a:buFont typeface="Wingdings" panose="05000000000000000000" pitchFamily="2" charset="2"/>
              <a:buChar char="«"/>
              <a:defRPr/>
            </a:pPr>
            <a:r>
              <a:rPr lang="fr-FR" sz="2400" dirty="0">
                <a:solidFill>
                  <a:srgbClr val="000000"/>
                </a:solidFill>
                <a:effectLst>
                  <a:outerShdw blurRad="38100" dist="38100" dir="2700000" algn="tl">
                    <a:srgbClr val="C0C0C0"/>
                  </a:outerShdw>
                </a:effectLst>
              </a:rPr>
              <a:t>Communication services supplier</a:t>
            </a:r>
          </a:p>
          <a:p>
            <a:pPr eaLnBrk="1" hangingPunct="1">
              <a:lnSpc>
                <a:spcPct val="80000"/>
              </a:lnSpc>
              <a:buSzTx/>
              <a:buFont typeface="Wingdings" panose="05000000000000000000" pitchFamily="2" charset="2"/>
              <a:buChar char="«"/>
              <a:defRPr/>
            </a:pPr>
            <a:endParaRPr lang="fr-FR" sz="2400" dirty="0">
              <a:solidFill>
                <a:srgbClr val="000000"/>
              </a:solidFill>
              <a:effectLst>
                <a:outerShdw blurRad="38100" dist="38100" dir="2700000" algn="tl">
                  <a:srgbClr val="C0C0C0"/>
                </a:outerShdw>
              </a:effectLst>
            </a:endParaRPr>
          </a:p>
          <a:p>
            <a:pPr eaLnBrk="1" hangingPunct="1">
              <a:lnSpc>
                <a:spcPct val="80000"/>
              </a:lnSpc>
              <a:buSzTx/>
              <a:buFont typeface="Wingdings" panose="05000000000000000000" pitchFamily="2" charset="2"/>
              <a:buChar char="«"/>
              <a:defRPr/>
            </a:pPr>
            <a:r>
              <a:rPr lang="fr-FR" sz="2400" dirty="0" err="1">
                <a:solidFill>
                  <a:srgbClr val="000000"/>
                </a:solidFill>
                <a:effectLst>
                  <a:outerShdw blurRad="38100" dist="38100" dir="2700000" algn="tl">
                    <a:srgbClr val="C0C0C0"/>
                  </a:outerShdw>
                </a:effectLst>
              </a:rPr>
              <a:t>Visibility</a:t>
            </a:r>
            <a:r>
              <a:rPr lang="fr-FR" sz="2400" dirty="0">
                <a:solidFill>
                  <a:srgbClr val="000000"/>
                </a:solidFill>
                <a:effectLst>
                  <a:outerShdw blurRad="38100" dist="38100" dir="2700000" algn="tl">
                    <a:srgbClr val="C0C0C0"/>
                  </a:outerShdw>
                </a:effectLst>
              </a:rPr>
              <a:t> activation:</a:t>
            </a:r>
          </a:p>
          <a:p>
            <a:pPr lvl="1" eaLnBrk="1" hangingPunct="1">
              <a:lnSpc>
                <a:spcPct val="80000"/>
              </a:lnSpc>
              <a:buSzTx/>
              <a:buFont typeface="Wingdings" panose="05000000000000000000" pitchFamily="2" charset="2"/>
              <a:buChar char="«"/>
              <a:defRPr/>
            </a:pPr>
            <a:r>
              <a:rPr lang="fr-FR" sz="2000" dirty="0">
                <a:solidFill>
                  <a:srgbClr val="000000"/>
                </a:solidFill>
                <a:effectLst>
                  <a:outerShdw blurRad="38100" dist="38100" dir="2700000" algn="tl">
                    <a:srgbClr val="C0C0C0"/>
                  </a:outerShdw>
                </a:effectLst>
              </a:rPr>
              <a:t>Field : 2-4 </a:t>
            </a:r>
            <a:r>
              <a:rPr lang="fr-FR" sz="2000" dirty="0" err="1">
                <a:solidFill>
                  <a:srgbClr val="000000"/>
                </a:solidFill>
                <a:effectLst>
                  <a:outerShdw blurRad="38100" dist="38100" dir="2700000" algn="tl">
                    <a:srgbClr val="C0C0C0"/>
                  </a:outerShdw>
                </a:effectLst>
              </a:rPr>
              <a:t>billboards</a:t>
            </a:r>
            <a:r>
              <a:rPr lang="fr-FR" sz="2000" dirty="0">
                <a:solidFill>
                  <a:srgbClr val="000000"/>
                </a:solidFill>
                <a:effectLst>
                  <a:outerShdw blurRad="38100" dist="38100" dir="2700000" algn="tl">
                    <a:srgbClr val="C0C0C0"/>
                  </a:outerShdw>
                </a:effectLst>
              </a:rPr>
              <a:t> 8*6.50 m </a:t>
            </a:r>
          </a:p>
          <a:p>
            <a:pPr lvl="1" eaLnBrk="1" hangingPunct="1">
              <a:lnSpc>
                <a:spcPct val="80000"/>
              </a:lnSpc>
              <a:buSzTx/>
              <a:buFont typeface="Wingdings" panose="05000000000000000000" pitchFamily="2" charset="2"/>
              <a:buChar char="«"/>
              <a:defRPr/>
            </a:pPr>
            <a:endParaRPr lang="fr-FR" sz="2000" dirty="0">
              <a:solidFill>
                <a:srgbClr val="000000"/>
              </a:solidFill>
              <a:effectLst>
                <a:outerShdw blurRad="38100" dist="38100" dir="2700000" algn="tl">
                  <a:srgbClr val="C0C0C0"/>
                </a:outerShdw>
              </a:effectLst>
            </a:endParaRPr>
          </a:p>
          <a:p>
            <a:pPr eaLnBrk="1" hangingPunct="1">
              <a:lnSpc>
                <a:spcPct val="80000"/>
              </a:lnSpc>
              <a:buSzTx/>
              <a:buFont typeface="Wingdings" panose="05000000000000000000" pitchFamily="2" charset="2"/>
              <a:buChar char="«"/>
              <a:defRPr/>
            </a:pPr>
            <a:r>
              <a:rPr lang="fr-FR" sz="2400" dirty="0">
                <a:solidFill>
                  <a:srgbClr val="000000"/>
                </a:solidFill>
                <a:effectLst>
                  <a:outerShdw blurRad="38100" dist="38100" dir="2700000" algn="tl">
                    <a:srgbClr val="C0C0C0"/>
                  </a:outerShdw>
                </a:effectLst>
              </a:rPr>
              <a:t>Sensemaking activations</a:t>
            </a:r>
          </a:p>
          <a:p>
            <a:pPr lvl="1" eaLnBrk="1" hangingPunct="1">
              <a:lnSpc>
                <a:spcPct val="80000"/>
              </a:lnSpc>
              <a:buSzTx/>
              <a:buFont typeface="Wingdings" panose="05000000000000000000" pitchFamily="2" charset="2"/>
              <a:buChar char="«"/>
              <a:defRPr/>
            </a:pPr>
            <a:r>
              <a:rPr lang="fr-FR" sz="2000" dirty="0" err="1">
                <a:solidFill>
                  <a:srgbClr val="000000"/>
                </a:solidFill>
                <a:effectLst>
                  <a:outerShdw blurRad="38100" dist="38100" dir="2700000" algn="tl">
                    <a:srgbClr val="C0C0C0"/>
                  </a:outerShdw>
                </a:effectLst>
              </a:rPr>
              <a:t>Website</a:t>
            </a:r>
            <a:r>
              <a:rPr lang="fr-FR" sz="2000" dirty="0">
                <a:solidFill>
                  <a:srgbClr val="000000"/>
                </a:solidFill>
                <a:effectLst>
                  <a:outerShdw blurRad="38100" dist="38100" dir="2700000" algn="tl">
                    <a:srgbClr val="C0C0C0"/>
                  </a:outerShdw>
                </a:effectLst>
              </a:rPr>
              <a:t> : official </a:t>
            </a:r>
            <a:r>
              <a:rPr lang="fr-FR" sz="2000" dirty="0" err="1">
                <a:solidFill>
                  <a:srgbClr val="000000"/>
                </a:solidFill>
                <a:effectLst>
                  <a:outerShdw blurRad="38100" dist="38100" dir="2700000" algn="tl">
                    <a:srgbClr val="C0C0C0"/>
                  </a:outerShdw>
                </a:effectLst>
              </a:rPr>
              <a:t>facts</a:t>
            </a:r>
            <a:r>
              <a:rPr lang="fr-FR" sz="2000" dirty="0">
                <a:solidFill>
                  <a:srgbClr val="000000"/>
                </a:solidFill>
                <a:effectLst>
                  <a:outerShdw blurRad="38100" dist="38100" dir="2700000" algn="tl">
                    <a:srgbClr val="C0C0C0"/>
                  </a:outerShdw>
                </a:effectLst>
              </a:rPr>
              <a:t> – news  – </a:t>
            </a:r>
            <a:r>
              <a:rPr lang="fr-FR" sz="2000" dirty="0" err="1">
                <a:solidFill>
                  <a:srgbClr val="000000"/>
                </a:solidFill>
                <a:effectLst>
                  <a:outerShdw blurRad="38100" dist="38100" dir="2700000" algn="tl">
                    <a:srgbClr val="C0C0C0"/>
                  </a:outerShdw>
                </a:effectLst>
              </a:rPr>
              <a:t>products</a:t>
            </a:r>
            <a:endParaRPr lang="fr-FR" sz="2000" dirty="0">
              <a:solidFill>
                <a:srgbClr val="000000"/>
              </a:solidFill>
              <a:effectLst>
                <a:outerShdw blurRad="38100" dist="38100" dir="2700000" algn="tl">
                  <a:srgbClr val="C0C0C0"/>
                </a:outerShdw>
              </a:effectLst>
            </a:endParaRPr>
          </a:p>
          <a:p>
            <a:pPr lvl="1" eaLnBrk="1" hangingPunct="1">
              <a:lnSpc>
                <a:spcPct val="80000"/>
              </a:lnSpc>
              <a:buSzTx/>
              <a:buFont typeface="Wingdings" panose="05000000000000000000" pitchFamily="2" charset="2"/>
              <a:buChar char="«"/>
              <a:defRPr/>
            </a:pPr>
            <a:r>
              <a:rPr lang="fr-FR" sz="2000" dirty="0">
                <a:solidFill>
                  <a:srgbClr val="000000"/>
                </a:solidFill>
                <a:effectLst>
                  <a:outerShdw blurRad="38100" dist="38100" dir="2700000" algn="tl">
                    <a:srgbClr val="C0C0C0"/>
                  </a:outerShdw>
                </a:effectLst>
              </a:rPr>
              <a:t>Promotion services Voice over IP : </a:t>
            </a:r>
            <a:r>
              <a:rPr lang="fr-FR" sz="2000" dirty="0" err="1">
                <a:solidFill>
                  <a:srgbClr val="000000"/>
                </a:solidFill>
                <a:effectLst>
                  <a:outerShdw blurRad="38100" dist="38100" dir="2700000" algn="tl">
                    <a:srgbClr val="C0C0C0"/>
                  </a:outerShdw>
                </a:effectLst>
              </a:rPr>
              <a:t>press</a:t>
            </a:r>
            <a:r>
              <a:rPr lang="fr-FR" sz="2000" dirty="0">
                <a:solidFill>
                  <a:srgbClr val="000000"/>
                </a:solidFill>
                <a:effectLst>
                  <a:outerShdw blurRad="38100" dist="38100" dir="2700000" algn="tl">
                    <a:srgbClr val="C0C0C0"/>
                  </a:outerShdw>
                </a:effectLst>
              </a:rPr>
              <a:t>, media…</a:t>
            </a:r>
          </a:p>
        </p:txBody>
      </p:sp>
      <p:pic>
        <p:nvPicPr>
          <p:cNvPr id="38915" name="Picture 3" descr="mh_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27576" y="333375"/>
            <a:ext cx="2016125"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6" name="Picture 4" descr="SiteWe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11900" y="1916113"/>
            <a:ext cx="4133850" cy="32385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206145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En direct | CMA CGM, nouveau partenaire principal de l'OM, &quot;avec Marseille  au coeur&quot; | La Provence">
            <a:extLst>
              <a:ext uri="{FF2B5EF4-FFF2-40B4-BE49-F238E27FC236}">
                <a16:creationId xmlns:a16="http://schemas.microsoft.com/office/drawing/2014/main" id="{FF5B9123-0C56-E4AC-340A-84087FA15DB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940" r="5538"/>
          <a:stretch/>
        </p:blipFill>
        <p:spPr bwMode="auto">
          <a:xfrm>
            <a:off x="5622233" y="10"/>
            <a:ext cx="6569769" cy="3750724"/>
          </a:xfrm>
          <a:custGeom>
            <a:avLst/>
            <a:gdLst/>
            <a:ahLst/>
            <a:cxnLst/>
            <a:rect l="l" t="t" r="r" b="b"/>
            <a:pathLst>
              <a:path w="6569769" h="3750734">
                <a:moveTo>
                  <a:pt x="1738471" y="0"/>
                </a:moveTo>
                <a:lnTo>
                  <a:pt x="6569769" y="0"/>
                </a:lnTo>
                <a:lnTo>
                  <a:pt x="6569769" y="3750734"/>
                </a:lnTo>
                <a:lnTo>
                  <a:pt x="0" y="3750734"/>
                </a:lnTo>
                <a:close/>
              </a:path>
            </a:pathLst>
          </a:custGeom>
          <a:noFill/>
          <a:extLst>
            <a:ext uri="{909E8E84-426E-40DD-AFC4-6F175D3DCCD1}">
              <a14:hiddenFill xmlns:a14="http://schemas.microsoft.com/office/drawing/2010/main">
                <a:solidFill>
                  <a:srgbClr val="FFFFFF"/>
                </a:solidFill>
              </a14:hiddenFill>
            </a:ext>
          </a:extLst>
        </p:spPr>
      </p:pic>
      <p:pic>
        <p:nvPicPr>
          <p:cNvPr id="1030" name="Picture 6" descr="Sport">
            <a:extLst>
              <a:ext uri="{FF2B5EF4-FFF2-40B4-BE49-F238E27FC236}">
                <a16:creationId xmlns:a16="http://schemas.microsoft.com/office/drawing/2014/main" id="{7DD6B180-6137-7D79-FE6F-4B41017A65E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90" r="1" b="1"/>
          <a:stretch/>
        </p:blipFill>
        <p:spPr bwMode="auto">
          <a:xfrm>
            <a:off x="4182011" y="3887894"/>
            <a:ext cx="8009991" cy="2970106"/>
          </a:xfrm>
          <a:custGeom>
            <a:avLst/>
            <a:gdLst/>
            <a:ahLst/>
            <a:cxnLst/>
            <a:rect l="l" t="t" r="r" b="b"/>
            <a:pathLst>
              <a:path w="8009991" h="2970106">
                <a:moveTo>
                  <a:pt x="1376648" y="0"/>
                </a:moveTo>
                <a:lnTo>
                  <a:pt x="8009991" y="0"/>
                </a:lnTo>
                <a:lnTo>
                  <a:pt x="8009991" y="2970106"/>
                </a:lnTo>
                <a:lnTo>
                  <a:pt x="0" y="2970106"/>
                </a:lnTo>
                <a:close/>
              </a:path>
            </a:pathLst>
          </a:custGeom>
          <a:noFill/>
          <a:extLst>
            <a:ext uri="{909E8E84-426E-40DD-AFC4-6F175D3DCCD1}">
              <a14:hiddenFill xmlns:a14="http://schemas.microsoft.com/office/drawing/2010/main">
                <a:solidFill>
                  <a:srgbClr val="FFFFFF"/>
                </a:solidFill>
              </a14:hiddenFill>
            </a:ext>
          </a:extLst>
        </p:spPr>
      </p:pic>
      <p:pic>
        <p:nvPicPr>
          <p:cNvPr id="1028" name="Picture 4" descr="Sport">
            <a:extLst>
              <a:ext uri="{FF2B5EF4-FFF2-40B4-BE49-F238E27FC236}">
                <a16:creationId xmlns:a16="http://schemas.microsoft.com/office/drawing/2014/main" id="{6CDF99C0-6E0C-662D-0B62-A4F4A372921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0902" r="2" b="2"/>
          <a:stretch/>
        </p:blipFill>
        <p:spPr bwMode="auto">
          <a:xfrm>
            <a:off x="20" y="10"/>
            <a:ext cx="7503091" cy="6857990"/>
          </a:xfrm>
          <a:custGeom>
            <a:avLst/>
            <a:gdLst/>
            <a:ahLst/>
            <a:cxnLst/>
            <a:rect l="l" t="t" r="r" b="b"/>
            <a:pathLst>
              <a:path w="7503111" h="6858000">
                <a:moveTo>
                  <a:pt x="0" y="0"/>
                </a:moveTo>
                <a:lnTo>
                  <a:pt x="677334" y="0"/>
                </a:lnTo>
                <a:lnTo>
                  <a:pt x="1168036" y="0"/>
                </a:lnTo>
                <a:lnTo>
                  <a:pt x="1205499" y="0"/>
                </a:lnTo>
                <a:lnTo>
                  <a:pt x="1647632" y="0"/>
                </a:lnTo>
                <a:lnTo>
                  <a:pt x="7215401" y="0"/>
                </a:lnTo>
                <a:lnTo>
                  <a:pt x="4041567" y="6852993"/>
                </a:lnTo>
                <a:lnTo>
                  <a:pt x="7503111" y="6852993"/>
                </a:lnTo>
                <a:lnTo>
                  <a:pt x="7503111" y="6852994"/>
                </a:lnTo>
                <a:lnTo>
                  <a:pt x="1647632" y="6852994"/>
                </a:lnTo>
                <a:lnTo>
                  <a:pt x="1647632"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3325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ectangle 2"/>
          <p:cNvSpPr>
            <a:spLocks noGrp="1" noChangeArrowheads="1"/>
          </p:cNvSpPr>
          <p:nvPr>
            <p:ph idx="1"/>
          </p:nvPr>
        </p:nvSpPr>
        <p:spPr>
          <a:xfrm>
            <a:off x="626102" y="1799340"/>
            <a:ext cx="8497887" cy="4023256"/>
          </a:xfrm>
        </p:spPr>
        <p:txBody>
          <a:bodyPr>
            <a:normAutofit/>
          </a:bodyPr>
          <a:lstStyle/>
          <a:p>
            <a:pPr eaLnBrk="1" hangingPunct="1">
              <a:lnSpc>
                <a:spcPct val="80000"/>
              </a:lnSpc>
              <a:buSzTx/>
              <a:buFont typeface="Wingdings" panose="05000000000000000000" pitchFamily="2" charset="2"/>
              <a:buChar char="«"/>
              <a:defRPr/>
            </a:pPr>
            <a:r>
              <a:rPr lang="fr-FR" sz="2400" dirty="0" err="1">
                <a:solidFill>
                  <a:srgbClr val="000000"/>
                </a:solidFill>
                <a:effectLst>
                  <a:outerShdw blurRad="38100" dist="38100" dir="2700000" algn="tl">
                    <a:srgbClr val="C0C0C0"/>
                  </a:outerShdw>
                </a:effectLst>
              </a:rPr>
              <a:t>Powerade</a:t>
            </a:r>
            <a:r>
              <a:rPr lang="fr-FR" sz="2400" dirty="0">
                <a:solidFill>
                  <a:srgbClr val="000000"/>
                </a:solidFill>
                <a:effectLst>
                  <a:outerShdw blurRad="38100" dist="38100" dir="2700000" algn="tl">
                    <a:srgbClr val="C0C0C0"/>
                  </a:outerShdw>
                </a:effectLst>
              </a:rPr>
              <a:t> official supplier ‘</a:t>
            </a:r>
            <a:r>
              <a:rPr lang="fr-FR" sz="2400" dirty="0" err="1">
                <a:solidFill>
                  <a:srgbClr val="000000"/>
                </a:solidFill>
                <a:effectLst>
                  <a:outerShdw blurRad="38100" dist="38100" dir="2700000" algn="tl">
                    <a:srgbClr val="C0C0C0"/>
                  </a:outerShdw>
                </a:effectLst>
              </a:rPr>
              <a:t>energy</a:t>
            </a:r>
            <a:r>
              <a:rPr lang="fr-FR" sz="2400" dirty="0">
                <a:solidFill>
                  <a:srgbClr val="000000"/>
                </a:solidFill>
                <a:effectLst>
                  <a:outerShdw blurRad="38100" dist="38100" dir="2700000" algn="tl">
                    <a:srgbClr val="C0C0C0"/>
                  </a:outerShdw>
                </a:effectLst>
              </a:rPr>
              <a:t> drink’ </a:t>
            </a:r>
          </a:p>
          <a:p>
            <a:pPr eaLnBrk="1" hangingPunct="1">
              <a:lnSpc>
                <a:spcPct val="80000"/>
              </a:lnSpc>
              <a:buSzTx/>
              <a:buFont typeface="Wingdings" panose="05000000000000000000" pitchFamily="2" charset="2"/>
              <a:buChar char="«"/>
              <a:defRPr/>
            </a:pPr>
            <a:r>
              <a:rPr lang="fr-FR" sz="2400" dirty="0" err="1">
                <a:solidFill>
                  <a:srgbClr val="000000"/>
                </a:solidFill>
                <a:effectLst>
                  <a:outerShdw blurRad="38100" dist="38100" dir="2700000" algn="tl">
                    <a:srgbClr val="C0C0C0"/>
                  </a:outerShdw>
                </a:effectLst>
              </a:rPr>
              <a:t>Bonaqa</a:t>
            </a:r>
            <a:r>
              <a:rPr lang="fr-FR" sz="2400" dirty="0">
                <a:solidFill>
                  <a:srgbClr val="000000"/>
                </a:solidFill>
                <a:effectLst>
                  <a:outerShdw blurRad="38100" dist="38100" dir="2700000" algn="tl">
                    <a:srgbClr val="C0C0C0"/>
                  </a:outerShdw>
                </a:effectLst>
              </a:rPr>
              <a:t> official supplier « water » </a:t>
            </a:r>
          </a:p>
          <a:p>
            <a:pPr eaLnBrk="1" hangingPunct="1">
              <a:lnSpc>
                <a:spcPct val="80000"/>
              </a:lnSpc>
              <a:buSzTx/>
              <a:buFont typeface="Wingdings" panose="05000000000000000000" pitchFamily="2" charset="2"/>
              <a:buChar char="«"/>
              <a:defRPr/>
            </a:pPr>
            <a:r>
              <a:rPr lang="fr-FR" sz="2400" dirty="0">
                <a:solidFill>
                  <a:srgbClr val="000000"/>
                </a:solidFill>
                <a:effectLst>
                  <a:outerShdw blurRad="38100" dist="38100" dir="2700000" algn="tl">
                    <a:srgbClr val="C0C0C0"/>
                  </a:outerShdw>
                </a:effectLst>
              </a:rPr>
              <a:t>« </a:t>
            </a:r>
            <a:r>
              <a:rPr lang="fr-FR" sz="2400" dirty="0" err="1">
                <a:solidFill>
                  <a:srgbClr val="000000"/>
                </a:solidFill>
                <a:effectLst>
                  <a:outerShdw blurRad="38100" dist="38100" dir="2700000" algn="tl">
                    <a:srgbClr val="C0C0C0"/>
                  </a:outerShdw>
                </a:effectLst>
              </a:rPr>
              <a:t>We</a:t>
            </a:r>
            <a:r>
              <a:rPr lang="fr-FR" sz="2400" dirty="0">
                <a:solidFill>
                  <a:srgbClr val="000000"/>
                </a:solidFill>
                <a:effectLst>
                  <a:outerShdw blurRad="38100" dist="38100" dir="2700000" algn="tl">
                    <a:srgbClr val="C0C0C0"/>
                  </a:outerShdw>
                </a:effectLst>
              </a:rPr>
              <a:t> all </a:t>
            </a:r>
            <a:r>
              <a:rPr lang="fr-FR" sz="2400" dirty="0" err="1">
                <a:solidFill>
                  <a:srgbClr val="000000"/>
                </a:solidFill>
                <a:effectLst>
                  <a:outerShdw blurRad="38100" dist="38100" dir="2700000" algn="tl">
                    <a:srgbClr val="C0C0C0"/>
                  </a:outerShdw>
                </a:effectLst>
              </a:rPr>
              <a:t>speak</a:t>
            </a:r>
            <a:r>
              <a:rPr lang="fr-FR" sz="2400" dirty="0">
                <a:solidFill>
                  <a:srgbClr val="000000"/>
                </a:solidFill>
                <a:effectLst>
                  <a:outerShdw blurRad="38100" dist="38100" dir="2700000" algn="tl">
                    <a:srgbClr val="C0C0C0"/>
                  </a:outerShdw>
                </a:effectLst>
              </a:rPr>
              <a:t> Football » </a:t>
            </a:r>
            <a:r>
              <a:rPr lang="fr-FR" sz="2400" dirty="0" err="1">
                <a:solidFill>
                  <a:srgbClr val="000000"/>
                </a:solidFill>
                <a:effectLst>
                  <a:outerShdw blurRad="38100" dist="38100" dir="2700000" algn="tl">
                    <a:srgbClr val="C0C0C0"/>
                  </a:outerShdw>
                </a:effectLst>
              </a:rPr>
              <a:t>campaign</a:t>
            </a:r>
            <a:r>
              <a:rPr lang="fr-FR" sz="2400" dirty="0">
                <a:solidFill>
                  <a:srgbClr val="000000"/>
                </a:solidFill>
                <a:effectLst>
                  <a:outerShdw blurRad="38100" dist="38100" dir="2700000" algn="tl">
                    <a:srgbClr val="C0C0C0"/>
                  </a:outerShdw>
                </a:effectLst>
              </a:rPr>
              <a:t> </a:t>
            </a:r>
          </a:p>
          <a:p>
            <a:pPr eaLnBrk="1" hangingPunct="1">
              <a:lnSpc>
                <a:spcPct val="80000"/>
              </a:lnSpc>
              <a:buSzTx/>
              <a:buFont typeface="Wingdings" panose="05000000000000000000" pitchFamily="2" charset="2"/>
              <a:buChar char="«"/>
              <a:defRPr/>
            </a:pPr>
            <a:endParaRPr lang="fr-FR" sz="2400" dirty="0">
              <a:solidFill>
                <a:srgbClr val="000000"/>
              </a:solidFill>
              <a:effectLst>
                <a:outerShdw blurRad="38100" dist="38100" dir="2700000" algn="tl">
                  <a:srgbClr val="C0C0C0"/>
                </a:outerShdw>
              </a:effectLst>
            </a:endParaRPr>
          </a:p>
          <a:p>
            <a:pPr eaLnBrk="1" hangingPunct="1">
              <a:lnSpc>
                <a:spcPct val="80000"/>
              </a:lnSpc>
              <a:buSzTx/>
              <a:buFont typeface="Wingdings" panose="05000000000000000000" pitchFamily="2" charset="2"/>
              <a:buChar char="«"/>
              <a:defRPr/>
            </a:pPr>
            <a:r>
              <a:rPr lang="fr-FR" sz="2400" dirty="0" err="1">
                <a:solidFill>
                  <a:srgbClr val="000000"/>
                </a:solidFill>
                <a:effectLst>
                  <a:outerShdw blurRad="38100" dist="38100" dir="2700000" algn="tl">
                    <a:srgbClr val="C0C0C0"/>
                  </a:outerShdw>
                </a:effectLst>
              </a:rPr>
              <a:t>Visibility</a:t>
            </a:r>
            <a:r>
              <a:rPr lang="fr-FR" sz="2400" dirty="0">
                <a:solidFill>
                  <a:srgbClr val="000000"/>
                </a:solidFill>
                <a:effectLst>
                  <a:outerShdw blurRad="38100" dist="38100" dir="2700000" algn="tl">
                    <a:srgbClr val="C0C0C0"/>
                  </a:outerShdw>
                </a:effectLst>
              </a:rPr>
              <a:t> activations :</a:t>
            </a:r>
          </a:p>
          <a:p>
            <a:pPr marL="0" indent="0" eaLnBrk="1" hangingPunct="1">
              <a:lnSpc>
                <a:spcPct val="80000"/>
              </a:lnSpc>
              <a:buSzTx/>
              <a:buNone/>
              <a:defRPr/>
            </a:pPr>
            <a:endParaRPr lang="fr-FR" sz="2400" dirty="0">
              <a:solidFill>
                <a:srgbClr val="000000"/>
              </a:solidFill>
              <a:effectLst>
                <a:outerShdw blurRad="38100" dist="38100" dir="2700000" algn="tl">
                  <a:srgbClr val="C0C0C0"/>
                </a:outerShdw>
              </a:effectLst>
            </a:endParaRPr>
          </a:p>
          <a:p>
            <a:pPr lvl="1" eaLnBrk="1" hangingPunct="1">
              <a:lnSpc>
                <a:spcPct val="80000"/>
              </a:lnSpc>
              <a:buSzTx/>
              <a:buFont typeface="Wingdings" panose="05000000000000000000" pitchFamily="2" charset="2"/>
              <a:buChar char="«"/>
              <a:defRPr/>
            </a:pPr>
            <a:r>
              <a:rPr lang="fr-FR" sz="2000" dirty="0">
                <a:solidFill>
                  <a:srgbClr val="000000"/>
                </a:solidFill>
                <a:effectLst>
                  <a:outerShdw blurRad="38100" dist="38100" dir="2700000" algn="tl">
                    <a:srgbClr val="C0C0C0"/>
                  </a:outerShdw>
                </a:effectLst>
              </a:rPr>
              <a:t>2 à 4 </a:t>
            </a:r>
            <a:r>
              <a:rPr lang="fr-FR" sz="2000" dirty="0" err="1">
                <a:solidFill>
                  <a:srgbClr val="000000"/>
                </a:solidFill>
                <a:effectLst>
                  <a:outerShdw blurRad="38100" dist="38100" dir="2700000" algn="tl">
                    <a:srgbClr val="C0C0C0"/>
                  </a:outerShdw>
                </a:effectLst>
              </a:rPr>
              <a:t>billboards</a:t>
            </a:r>
            <a:endParaRPr lang="fr-FR" sz="2000" dirty="0">
              <a:solidFill>
                <a:srgbClr val="000000"/>
              </a:solidFill>
              <a:effectLst>
                <a:outerShdw blurRad="38100" dist="38100" dir="2700000" algn="tl">
                  <a:srgbClr val="C0C0C0"/>
                </a:outerShdw>
              </a:effectLst>
            </a:endParaRPr>
          </a:p>
          <a:p>
            <a:pPr lvl="1" eaLnBrk="1" hangingPunct="1">
              <a:lnSpc>
                <a:spcPct val="80000"/>
              </a:lnSpc>
              <a:buSzTx/>
              <a:buFont typeface="Wingdings" panose="05000000000000000000" pitchFamily="2" charset="2"/>
              <a:buChar char="«"/>
              <a:defRPr/>
            </a:pPr>
            <a:endParaRPr lang="fr-FR" sz="2000" dirty="0">
              <a:solidFill>
                <a:srgbClr val="000000"/>
              </a:solidFill>
              <a:effectLst>
                <a:outerShdw blurRad="38100" dist="38100" dir="2700000" algn="tl">
                  <a:srgbClr val="C0C0C0"/>
                </a:outerShdw>
              </a:effectLst>
            </a:endParaRPr>
          </a:p>
          <a:p>
            <a:pPr lvl="1" eaLnBrk="1" hangingPunct="1">
              <a:lnSpc>
                <a:spcPct val="80000"/>
              </a:lnSpc>
              <a:buSzTx/>
              <a:buFont typeface="Wingdings" panose="05000000000000000000" pitchFamily="2" charset="2"/>
              <a:buChar char="«"/>
              <a:defRPr/>
            </a:pPr>
            <a:r>
              <a:rPr lang="fr-FR" sz="2000" dirty="0" err="1">
                <a:solidFill>
                  <a:srgbClr val="000000"/>
                </a:solidFill>
                <a:effectLst>
                  <a:outerShdw blurRad="38100" dist="38100" dir="2700000" algn="tl">
                    <a:srgbClr val="C0C0C0"/>
                  </a:outerShdw>
                </a:effectLst>
              </a:rPr>
              <a:t>Visibility</a:t>
            </a:r>
            <a:r>
              <a:rPr lang="fr-FR" sz="2000" dirty="0">
                <a:solidFill>
                  <a:srgbClr val="000000"/>
                </a:solidFill>
                <a:effectLst>
                  <a:outerShdw blurRad="38100" dist="38100" dir="2700000" algn="tl">
                    <a:srgbClr val="C0C0C0"/>
                  </a:outerShdw>
                </a:effectLst>
              </a:rPr>
              <a:t> </a:t>
            </a:r>
            <a:r>
              <a:rPr lang="fr-FR" sz="2000" dirty="0" err="1">
                <a:solidFill>
                  <a:srgbClr val="000000"/>
                </a:solidFill>
                <a:effectLst>
                  <a:outerShdw blurRad="38100" dist="38100" dir="2700000" algn="tl">
                    <a:srgbClr val="C0C0C0"/>
                  </a:outerShdw>
                </a:effectLst>
              </a:rPr>
              <a:t>using</a:t>
            </a:r>
            <a:r>
              <a:rPr lang="fr-FR" sz="2000" dirty="0">
                <a:solidFill>
                  <a:srgbClr val="000000"/>
                </a:solidFill>
                <a:effectLst>
                  <a:outerShdw blurRad="38100" dist="38100" dir="2700000" algn="tl">
                    <a:srgbClr val="C0C0C0"/>
                  </a:outerShdw>
                </a:effectLst>
              </a:rPr>
              <a:t> teams </a:t>
            </a:r>
            <a:r>
              <a:rPr lang="fr-FR" sz="2000" dirty="0" err="1">
                <a:solidFill>
                  <a:srgbClr val="000000"/>
                </a:solidFill>
                <a:effectLst>
                  <a:outerShdw blurRad="38100" dist="38100" dir="2700000" algn="tl">
                    <a:srgbClr val="C0C0C0"/>
                  </a:outerShdw>
                </a:effectLst>
              </a:rPr>
              <a:t>colors</a:t>
            </a:r>
            <a:endParaRPr lang="fr-FR" sz="2000" dirty="0">
              <a:solidFill>
                <a:srgbClr val="000000"/>
              </a:solidFill>
              <a:effectLst>
                <a:outerShdw blurRad="38100" dist="38100" dir="2700000" algn="tl">
                  <a:srgbClr val="C0C0C0"/>
                </a:outerShdw>
              </a:effectLst>
            </a:endParaRPr>
          </a:p>
          <a:p>
            <a:pPr lvl="1" eaLnBrk="1" hangingPunct="1">
              <a:lnSpc>
                <a:spcPct val="80000"/>
              </a:lnSpc>
              <a:buSzTx/>
              <a:buFont typeface="Wingdings" panose="05000000000000000000" pitchFamily="2" charset="2"/>
              <a:buChar char="«"/>
              <a:defRPr/>
            </a:pPr>
            <a:endParaRPr lang="fr-FR" sz="2000" dirty="0">
              <a:solidFill>
                <a:srgbClr val="000000"/>
              </a:solidFill>
              <a:effectLst>
                <a:outerShdw blurRad="38100" dist="38100" dir="2700000" algn="tl">
                  <a:srgbClr val="C0C0C0"/>
                </a:outerShdw>
              </a:effectLst>
            </a:endParaRPr>
          </a:p>
        </p:txBody>
      </p:sp>
      <p:pic>
        <p:nvPicPr>
          <p:cNvPr id="39939" name="Picture 3" descr="cok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1998" y="224125"/>
            <a:ext cx="2965181" cy="134503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0" name="Picture 4" descr="COKE_4565_40839"/>
          <p:cNvPicPr>
            <a:picLocks noChangeAspect="1" noChangeArrowheads="1"/>
          </p:cNvPicPr>
          <p:nvPr/>
        </p:nvPicPr>
        <p:blipFill>
          <a:blip r:embed="rId3">
            <a:extLst>
              <a:ext uri="{28A0092B-C50C-407E-A947-70E740481C1C}">
                <a14:useLocalDpi xmlns:a14="http://schemas.microsoft.com/office/drawing/2010/main" val="0"/>
              </a:ext>
            </a:extLst>
          </a:blip>
          <a:srcRect t="33839" b="16702"/>
          <a:stretch>
            <a:fillRect/>
          </a:stretch>
        </p:blipFill>
        <p:spPr bwMode="auto">
          <a:xfrm>
            <a:off x="3954108" y="4130320"/>
            <a:ext cx="2413003" cy="93839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2"/>
          <p:cNvSpPr>
            <a:spLocks noChangeArrowheads="1"/>
          </p:cNvSpPr>
          <p:nvPr/>
        </p:nvSpPr>
        <p:spPr bwMode="auto">
          <a:xfrm>
            <a:off x="6367111" y="1785848"/>
            <a:ext cx="8497887" cy="4824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lnSpc>
                <a:spcPct val="80000"/>
              </a:lnSpc>
              <a:spcBef>
                <a:spcPct val="20000"/>
              </a:spcBef>
              <a:buClr>
                <a:schemeClr val="hlink"/>
              </a:buClr>
              <a:buFont typeface="Wingdings" pitchFamily="2" charset="2"/>
              <a:buChar char="«"/>
              <a:defRPr/>
            </a:pPr>
            <a:r>
              <a:rPr lang="fr-FR" sz="3200" dirty="0" err="1">
                <a:solidFill>
                  <a:srgbClr val="000000"/>
                </a:solidFill>
                <a:effectLst>
                  <a:outerShdw blurRad="38100" dist="38100" dir="2700000" algn="tl">
                    <a:srgbClr val="C0C0C0"/>
                  </a:outerShdw>
                </a:effectLst>
                <a:latin typeface="Arial" charset="0"/>
              </a:rPr>
              <a:t>Sensemaking</a:t>
            </a:r>
            <a:r>
              <a:rPr lang="fr-FR" sz="3200" dirty="0">
                <a:solidFill>
                  <a:srgbClr val="000000"/>
                </a:solidFill>
                <a:effectLst>
                  <a:outerShdw blurRad="38100" dist="38100" dir="2700000" algn="tl">
                    <a:srgbClr val="C0C0C0"/>
                  </a:outerShdw>
                </a:effectLst>
                <a:latin typeface="Arial" charset="0"/>
              </a:rPr>
              <a:t> activations </a:t>
            </a:r>
            <a:r>
              <a:rPr lang="fr-FR" sz="2400" dirty="0">
                <a:solidFill>
                  <a:srgbClr val="000000"/>
                </a:solidFill>
                <a:effectLst>
                  <a:outerShdw blurRad="38100" dist="38100" dir="2700000" algn="tl">
                    <a:srgbClr val="C0C0C0"/>
                  </a:outerShdw>
                </a:effectLst>
                <a:latin typeface="Arial" charset="0"/>
              </a:rPr>
              <a:t>  </a:t>
            </a:r>
          </a:p>
          <a:p>
            <a:pPr marL="742950" lvl="1" indent="-285750">
              <a:lnSpc>
                <a:spcPct val="80000"/>
              </a:lnSpc>
              <a:spcBef>
                <a:spcPct val="20000"/>
              </a:spcBef>
              <a:buClr>
                <a:schemeClr val="tx2"/>
              </a:buClr>
              <a:buFont typeface="Wingdings" pitchFamily="2" charset="2"/>
              <a:buChar char="«"/>
              <a:defRPr/>
            </a:pPr>
            <a:endParaRPr lang="fr-FR" sz="2000" dirty="0">
              <a:solidFill>
                <a:srgbClr val="000000"/>
              </a:solidFill>
              <a:effectLst>
                <a:outerShdw blurRad="38100" dist="38100" dir="2700000" algn="tl">
                  <a:srgbClr val="C0C0C0"/>
                </a:outerShdw>
              </a:effectLst>
              <a:latin typeface="Arial" charset="0"/>
            </a:endParaRPr>
          </a:p>
          <a:p>
            <a:pPr marL="742950" lvl="1" indent="-285750">
              <a:lnSpc>
                <a:spcPct val="80000"/>
              </a:lnSpc>
              <a:spcBef>
                <a:spcPct val="20000"/>
              </a:spcBef>
              <a:buClr>
                <a:schemeClr val="tx2"/>
              </a:buClr>
              <a:buFont typeface="Wingdings" pitchFamily="2" charset="2"/>
              <a:buChar char="«"/>
              <a:defRPr/>
            </a:pPr>
            <a:r>
              <a:rPr lang="fr-FR" sz="2000" dirty="0">
                <a:solidFill>
                  <a:srgbClr val="000000"/>
                </a:solidFill>
                <a:effectLst>
                  <a:outerShdw blurRad="38100" dist="38100" dir="2700000" algn="tl">
                    <a:srgbClr val="C0C0C0"/>
                  </a:outerShdw>
                </a:effectLst>
                <a:latin typeface="Arial" charset="0"/>
              </a:rPr>
              <a:t>FIFA World </a:t>
            </a:r>
            <a:r>
              <a:rPr lang="fr-FR" sz="2000" dirty="0" err="1">
                <a:solidFill>
                  <a:srgbClr val="000000"/>
                </a:solidFill>
                <a:effectLst>
                  <a:outerShdw blurRad="38100" dist="38100" dir="2700000" algn="tl">
                    <a:srgbClr val="C0C0C0"/>
                  </a:outerShdw>
                </a:effectLst>
                <a:latin typeface="Arial" charset="0"/>
              </a:rPr>
              <a:t>Cup</a:t>
            </a:r>
            <a:r>
              <a:rPr lang="fr-FR" sz="2000" dirty="0">
                <a:solidFill>
                  <a:srgbClr val="000000"/>
                </a:solidFill>
                <a:effectLst>
                  <a:outerShdw blurRad="38100" dist="38100" dir="2700000" algn="tl">
                    <a:srgbClr val="C0C0C0"/>
                  </a:outerShdw>
                </a:effectLst>
                <a:latin typeface="Arial" charset="0"/>
              </a:rPr>
              <a:t> ™ </a:t>
            </a:r>
            <a:r>
              <a:rPr lang="fr-FR" sz="2000" dirty="0" err="1">
                <a:solidFill>
                  <a:srgbClr val="000000"/>
                </a:solidFill>
                <a:effectLst>
                  <a:outerShdw blurRad="38100" dist="38100" dir="2700000" algn="tl">
                    <a:srgbClr val="C0C0C0"/>
                  </a:outerShdw>
                </a:effectLst>
                <a:latin typeface="Arial" charset="0"/>
              </a:rPr>
              <a:t>Trophy</a:t>
            </a:r>
            <a:r>
              <a:rPr lang="fr-FR" sz="2000" dirty="0">
                <a:solidFill>
                  <a:srgbClr val="000000"/>
                </a:solidFill>
                <a:effectLst>
                  <a:outerShdw blurRad="38100" dist="38100" dir="2700000" algn="tl">
                    <a:srgbClr val="C0C0C0"/>
                  </a:outerShdw>
                </a:effectLst>
                <a:latin typeface="Arial" charset="0"/>
              </a:rPr>
              <a:t> Tour : </a:t>
            </a:r>
          </a:p>
          <a:p>
            <a:pPr marL="742950" lvl="1" indent="-285750">
              <a:lnSpc>
                <a:spcPct val="80000"/>
              </a:lnSpc>
              <a:spcBef>
                <a:spcPct val="20000"/>
              </a:spcBef>
              <a:buClr>
                <a:schemeClr val="tx2"/>
              </a:buClr>
              <a:buFont typeface="Wingdings" pitchFamily="2" charset="2"/>
              <a:buChar char="«"/>
              <a:defRPr/>
            </a:pPr>
            <a:endParaRPr lang="fr-FR" sz="2000" dirty="0">
              <a:solidFill>
                <a:srgbClr val="000000"/>
              </a:solidFill>
              <a:effectLst>
                <a:outerShdw blurRad="38100" dist="38100" dir="2700000" algn="tl">
                  <a:srgbClr val="C0C0C0"/>
                </a:outerShdw>
              </a:effectLst>
              <a:latin typeface="Arial" charset="0"/>
            </a:endParaRPr>
          </a:p>
          <a:p>
            <a:pPr marL="742950" lvl="1" indent="-285750">
              <a:lnSpc>
                <a:spcPct val="80000"/>
              </a:lnSpc>
              <a:spcBef>
                <a:spcPct val="20000"/>
              </a:spcBef>
              <a:buClr>
                <a:schemeClr val="tx2"/>
              </a:buClr>
              <a:buFont typeface="Wingdings" pitchFamily="2" charset="2"/>
              <a:buChar char="«"/>
              <a:defRPr/>
            </a:pPr>
            <a:r>
              <a:rPr lang="fr-FR" sz="2000" dirty="0">
                <a:solidFill>
                  <a:srgbClr val="000000"/>
                </a:solidFill>
                <a:effectLst>
                  <a:outerShdw blurRad="38100" dist="38100" dir="2700000" algn="tl">
                    <a:srgbClr val="C0C0C0"/>
                  </a:outerShdw>
                </a:effectLst>
                <a:latin typeface="Arial" charset="0"/>
              </a:rPr>
              <a:t>Official </a:t>
            </a:r>
            <a:r>
              <a:rPr lang="fr-FR" sz="2000" dirty="0" err="1">
                <a:solidFill>
                  <a:srgbClr val="000000"/>
                </a:solidFill>
                <a:effectLst>
                  <a:outerShdw blurRad="38100" dist="38100" dir="2700000" algn="tl">
                    <a:srgbClr val="C0C0C0"/>
                  </a:outerShdw>
                </a:effectLst>
                <a:latin typeface="Arial" charset="0"/>
              </a:rPr>
              <a:t>balls</a:t>
            </a:r>
            <a:endParaRPr lang="fr-FR" sz="2000" dirty="0">
              <a:solidFill>
                <a:srgbClr val="000000"/>
              </a:solidFill>
              <a:effectLst>
                <a:outerShdw blurRad="38100" dist="38100" dir="2700000" algn="tl">
                  <a:srgbClr val="C0C0C0"/>
                </a:outerShdw>
              </a:effectLst>
              <a:latin typeface="Arial" charset="0"/>
            </a:endParaRPr>
          </a:p>
          <a:p>
            <a:pPr marL="742950" lvl="1" indent="-285750">
              <a:lnSpc>
                <a:spcPct val="80000"/>
              </a:lnSpc>
              <a:spcBef>
                <a:spcPct val="20000"/>
              </a:spcBef>
              <a:buClr>
                <a:schemeClr val="tx2"/>
              </a:buClr>
              <a:buFont typeface="Wingdings" pitchFamily="2" charset="2"/>
              <a:buChar char="«"/>
              <a:defRPr/>
            </a:pPr>
            <a:endParaRPr lang="fr-FR" sz="2000" dirty="0">
              <a:solidFill>
                <a:srgbClr val="000000"/>
              </a:solidFill>
              <a:effectLst>
                <a:outerShdw blurRad="38100" dist="38100" dir="2700000" algn="tl">
                  <a:srgbClr val="C0C0C0"/>
                </a:outerShdw>
              </a:effectLst>
              <a:latin typeface="Arial" charset="0"/>
            </a:endParaRPr>
          </a:p>
          <a:p>
            <a:pPr marL="742950" lvl="1" indent="-285750">
              <a:lnSpc>
                <a:spcPct val="80000"/>
              </a:lnSpc>
              <a:spcBef>
                <a:spcPct val="20000"/>
              </a:spcBef>
              <a:buClr>
                <a:schemeClr val="tx2"/>
              </a:buClr>
              <a:buFont typeface="Wingdings" pitchFamily="2" charset="2"/>
              <a:buChar char="«"/>
              <a:defRPr/>
            </a:pPr>
            <a:r>
              <a:rPr lang="fr-FR" sz="2000" dirty="0">
                <a:solidFill>
                  <a:srgbClr val="000000"/>
                </a:solidFill>
                <a:effectLst>
                  <a:outerShdw blurRad="38100" dist="38100" dir="2700000" algn="tl">
                    <a:srgbClr val="C0C0C0"/>
                  </a:outerShdw>
                </a:effectLst>
                <a:latin typeface="Arial" charset="0"/>
              </a:rPr>
              <a:t>Coca-Cola Football Camp </a:t>
            </a:r>
          </a:p>
          <a:p>
            <a:pPr marL="742950" lvl="1" indent="-285750">
              <a:lnSpc>
                <a:spcPct val="80000"/>
              </a:lnSpc>
              <a:spcBef>
                <a:spcPct val="20000"/>
              </a:spcBef>
              <a:buClr>
                <a:schemeClr val="tx2"/>
              </a:buClr>
              <a:buFont typeface="Wingdings" pitchFamily="2" charset="2"/>
              <a:buChar char="«"/>
              <a:defRPr/>
            </a:pPr>
            <a:endParaRPr lang="fr-FR" sz="2000" dirty="0">
              <a:solidFill>
                <a:srgbClr val="000000"/>
              </a:solidFill>
              <a:effectLst>
                <a:outerShdw blurRad="38100" dist="38100" dir="2700000" algn="tl">
                  <a:srgbClr val="C0C0C0"/>
                </a:outerShdw>
              </a:effectLst>
              <a:latin typeface="Arial" charset="0"/>
            </a:endParaRPr>
          </a:p>
          <a:p>
            <a:pPr marL="742950" lvl="1" indent="-285750">
              <a:lnSpc>
                <a:spcPct val="80000"/>
              </a:lnSpc>
              <a:spcBef>
                <a:spcPct val="20000"/>
              </a:spcBef>
              <a:buClr>
                <a:schemeClr val="tx2"/>
              </a:buClr>
              <a:buFont typeface="Wingdings" pitchFamily="2" charset="2"/>
              <a:buChar char="«"/>
              <a:defRPr/>
            </a:pPr>
            <a:r>
              <a:rPr lang="fr-FR" sz="2000" dirty="0">
                <a:solidFill>
                  <a:srgbClr val="000000"/>
                </a:solidFill>
                <a:effectLst>
                  <a:outerShdw blurRad="38100" dist="38100" dir="2700000" algn="tl">
                    <a:srgbClr val="C0C0C0"/>
                  </a:outerShdw>
                </a:effectLst>
                <a:latin typeface="Arial" charset="0"/>
              </a:rPr>
              <a:t>Panini Virtual Football Stickers </a:t>
            </a:r>
          </a:p>
          <a:p>
            <a:pPr marL="742950" lvl="1" indent="-285750">
              <a:lnSpc>
                <a:spcPct val="80000"/>
              </a:lnSpc>
              <a:spcBef>
                <a:spcPct val="20000"/>
              </a:spcBef>
              <a:buClr>
                <a:schemeClr val="tx2"/>
              </a:buClr>
              <a:buFont typeface="Wingdings" pitchFamily="2" charset="2"/>
              <a:buChar char="«"/>
              <a:defRPr/>
            </a:pPr>
            <a:endParaRPr lang="fr-FR" sz="2000" dirty="0">
              <a:solidFill>
                <a:srgbClr val="000000"/>
              </a:solidFill>
              <a:effectLst>
                <a:outerShdw blurRad="38100" dist="38100" dir="2700000" algn="tl">
                  <a:srgbClr val="C0C0C0"/>
                </a:outerShdw>
              </a:effectLst>
              <a:latin typeface="Arial" charset="0"/>
            </a:endParaRPr>
          </a:p>
          <a:p>
            <a:pPr marL="742950" lvl="1" indent="-285750">
              <a:lnSpc>
                <a:spcPct val="80000"/>
              </a:lnSpc>
              <a:spcBef>
                <a:spcPct val="20000"/>
              </a:spcBef>
              <a:buClr>
                <a:schemeClr val="tx2"/>
              </a:buClr>
              <a:buFont typeface="Wingdings" pitchFamily="2" charset="2"/>
              <a:buChar char="«"/>
              <a:defRPr/>
            </a:pPr>
            <a:r>
              <a:rPr lang="fr-FR" sz="2000" dirty="0" err="1">
                <a:solidFill>
                  <a:srgbClr val="000000"/>
                </a:solidFill>
                <a:effectLst>
                  <a:outerShdw blurRad="38100" dist="38100" dir="2700000" algn="tl">
                    <a:srgbClr val="C0C0C0"/>
                  </a:outerShdw>
                </a:effectLst>
                <a:latin typeface="Arial" charset="0"/>
              </a:rPr>
              <a:t>Children</a:t>
            </a:r>
            <a:r>
              <a:rPr lang="fr-FR" sz="2000" dirty="0">
                <a:solidFill>
                  <a:srgbClr val="000000"/>
                </a:solidFill>
                <a:effectLst>
                  <a:outerShdw blurRad="38100" dist="38100" dir="2700000" algn="tl">
                    <a:srgbClr val="C0C0C0"/>
                  </a:outerShdw>
                </a:effectLst>
                <a:latin typeface="Arial" charset="0"/>
              </a:rPr>
              <a:t> / 6 villages SOS FIFA</a:t>
            </a:r>
          </a:p>
          <a:p>
            <a:pPr marL="742950" lvl="1" indent="-285750">
              <a:lnSpc>
                <a:spcPct val="80000"/>
              </a:lnSpc>
              <a:spcBef>
                <a:spcPct val="20000"/>
              </a:spcBef>
              <a:buClr>
                <a:schemeClr val="tx2"/>
              </a:buClr>
              <a:buFont typeface="Wingdings" pitchFamily="2" charset="2"/>
              <a:buChar char="«"/>
              <a:defRPr/>
            </a:pPr>
            <a:endParaRPr lang="fr-FR" sz="2400" dirty="0">
              <a:solidFill>
                <a:srgbClr val="000000"/>
              </a:solidFill>
              <a:effectLst>
                <a:outerShdw blurRad="38100" dist="38100" dir="2700000" algn="tl">
                  <a:srgbClr val="C0C0C0"/>
                </a:outerShdw>
              </a:effectLst>
              <a:latin typeface="Arial" charset="0"/>
            </a:endParaRPr>
          </a:p>
          <a:p>
            <a:pPr lvl="1">
              <a:lnSpc>
                <a:spcPct val="80000"/>
              </a:lnSpc>
              <a:spcBef>
                <a:spcPct val="20000"/>
              </a:spcBef>
              <a:buClr>
                <a:schemeClr val="tx2"/>
              </a:buClr>
              <a:defRPr/>
            </a:pPr>
            <a:endParaRPr lang="fr-FR" sz="2000" i="1" dirty="0">
              <a:solidFill>
                <a:srgbClr val="000000"/>
              </a:solidFill>
              <a:effectLst>
                <a:outerShdw blurRad="38100" dist="38100" dir="2700000" algn="tl">
                  <a:srgbClr val="C0C0C0"/>
                </a:outerShdw>
              </a:effectLst>
              <a:latin typeface="Arial" charset="0"/>
            </a:endParaRPr>
          </a:p>
        </p:txBody>
      </p:sp>
    </p:spTree>
    <p:extLst>
      <p:ext uri="{BB962C8B-B14F-4D97-AF65-F5344CB8AC3E}">
        <p14:creationId xmlns:p14="http://schemas.microsoft.com/office/powerpoint/2010/main" val="249882164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2"/>
          <p:cNvSpPr>
            <a:spLocks noGrp="1" noChangeArrowheads="1"/>
          </p:cNvSpPr>
          <p:nvPr>
            <p:ph idx="1"/>
          </p:nvPr>
        </p:nvSpPr>
        <p:spPr>
          <a:xfrm>
            <a:off x="1156773" y="1857317"/>
            <a:ext cx="5210978" cy="4824413"/>
          </a:xfrm>
        </p:spPr>
        <p:txBody>
          <a:bodyPr>
            <a:normAutofit/>
          </a:bodyPr>
          <a:lstStyle/>
          <a:p>
            <a:pPr eaLnBrk="1" hangingPunct="1">
              <a:lnSpc>
                <a:spcPct val="80000"/>
              </a:lnSpc>
              <a:buSzTx/>
              <a:buFont typeface="Wingdings" panose="05000000000000000000" pitchFamily="2" charset="2"/>
              <a:buChar char="«"/>
              <a:defRPr/>
            </a:pPr>
            <a:r>
              <a:rPr lang="fr-FR" sz="2800" dirty="0">
                <a:solidFill>
                  <a:srgbClr val="000000"/>
                </a:solidFill>
                <a:effectLst>
                  <a:outerShdw blurRad="38100" dist="38100" dir="2700000" algn="tl">
                    <a:srgbClr val="C0C0C0"/>
                  </a:outerShdw>
                </a:effectLst>
              </a:rPr>
              <a:t>+ 20 </a:t>
            </a:r>
            <a:r>
              <a:rPr lang="fr-FR" sz="2800" dirty="0" err="1">
                <a:solidFill>
                  <a:srgbClr val="000000"/>
                </a:solidFill>
                <a:effectLst>
                  <a:outerShdw blurRad="38100" dist="38100" dir="2700000" algn="tl">
                    <a:srgbClr val="C0C0C0"/>
                  </a:outerShdw>
                </a:effectLst>
              </a:rPr>
              <a:t>years</a:t>
            </a:r>
            <a:r>
              <a:rPr lang="fr-FR" sz="2800" dirty="0">
                <a:solidFill>
                  <a:srgbClr val="000000"/>
                </a:solidFill>
                <a:effectLst>
                  <a:outerShdw blurRad="38100" dist="38100" dir="2700000" algn="tl">
                    <a:srgbClr val="C0C0C0"/>
                  </a:outerShdw>
                </a:effectLst>
              </a:rPr>
              <a:t> </a:t>
            </a:r>
            <a:r>
              <a:rPr lang="fr-FR" sz="2800" dirty="0" err="1">
                <a:solidFill>
                  <a:srgbClr val="000000"/>
                </a:solidFill>
                <a:effectLst>
                  <a:outerShdw blurRad="38100" dist="38100" dir="2700000" algn="tl">
                    <a:srgbClr val="C0C0C0"/>
                  </a:outerShdw>
                </a:effectLst>
              </a:rPr>
              <a:t>with</a:t>
            </a:r>
            <a:r>
              <a:rPr lang="fr-FR" sz="2800" dirty="0">
                <a:solidFill>
                  <a:srgbClr val="000000"/>
                </a:solidFill>
                <a:effectLst>
                  <a:outerShdw blurRad="38100" dist="38100" dir="2700000" algn="tl">
                    <a:srgbClr val="C0C0C0"/>
                  </a:outerShdw>
                </a:effectLst>
              </a:rPr>
              <a:t> FIFA </a:t>
            </a:r>
            <a:r>
              <a:rPr lang="fr-FR" sz="2800" dirty="0">
                <a:solidFill>
                  <a:srgbClr val="000000"/>
                </a:solidFill>
                <a:effectLst>
                  <a:outerShdw blurRad="38100" dist="38100" dir="2700000" algn="tl">
                    <a:srgbClr val="C0C0C0"/>
                  </a:outerShdw>
                </a:effectLst>
                <a:sym typeface="Wingdings" panose="05000000000000000000" pitchFamily="2" charset="2"/>
              </a:rPr>
              <a:t> Brand </a:t>
            </a:r>
            <a:r>
              <a:rPr lang="fr-FR" sz="2800" dirty="0" err="1">
                <a:solidFill>
                  <a:srgbClr val="000000"/>
                </a:solidFill>
                <a:effectLst>
                  <a:outerShdw blurRad="38100" dist="38100" dir="2700000" algn="tl">
                    <a:srgbClr val="C0C0C0"/>
                  </a:outerShdw>
                </a:effectLst>
                <a:sym typeface="Wingdings" panose="05000000000000000000" pitchFamily="2" charset="2"/>
              </a:rPr>
              <a:t>Visibility</a:t>
            </a:r>
            <a:r>
              <a:rPr lang="fr-FR" sz="2800" dirty="0">
                <a:solidFill>
                  <a:srgbClr val="000000"/>
                </a:solidFill>
                <a:effectLst>
                  <a:outerShdw blurRad="38100" dist="38100" dir="2700000" algn="tl">
                    <a:srgbClr val="C0C0C0"/>
                  </a:outerShdw>
                </a:effectLst>
                <a:sym typeface="Wingdings" panose="05000000000000000000" pitchFamily="2" charset="2"/>
              </a:rPr>
              <a:t> / N1 International soccer / Relations </a:t>
            </a:r>
            <a:r>
              <a:rPr lang="fr-FR" sz="2800" dirty="0" err="1">
                <a:solidFill>
                  <a:srgbClr val="000000"/>
                </a:solidFill>
                <a:effectLst>
                  <a:outerShdw blurRad="38100" dist="38100" dir="2700000" algn="tl">
                    <a:srgbClr val="C0C0C0"/>
                  </a:outerShdw>
                </a:effectLst>
                <a:sym typeface="Wingdings" panose="05000000000000000000" pitchFamily="2" charset="2"/>
              </a:rPr>
              <a:t>users</a:t>
            </a:r>
            <a:r>
              <a:rPr lang="fr-FR" sz="2800" dirty="0">
                <a:solidFill>
                  <a:srgbClr val="000000"/>
                </a:solidFill>
                <a:effectLst>
                  <a:outerShdw blurRad="38100" dist="38100" dir="2700000" algn="tl">
                    <a:srgbClr val="C0C0C0"/>
                  </a:outerShdw>
                </a:effectLst>
                <a:sym typeface="Wingdings" panose="05000000000000000000" pitchFamily="2" charset="2"/>
              </a:rPr>
              <a:t> + </a:t>
            </a:r>
            <a:r>
              <a:rPr lang="fr-FR" sz="2800" dirty="0" err="1">
                <a:solidFill>
                  <a:srgbClr val="000000"/>
                </a:solidFill>
                <a:effectLst>
                  <a:outerShdw blurRad="38100" dist="38100" dir="2700000" algn="tl">
                    <a:srgbClr val="C0C0C0"/>
                  </a:outerShdw>
                </a:effectLst>
                <a:sym typeface="Wingdings" panose="05000000000000000000" pitchFamily="2" charset="2"/>
              </a:rPr>
              <a:t>banks</a:t>
            </a:r>
            <a:endParaRPr lang="fr-FR" sz="2800" dirty="0">
              <a:solidFill>
                <a:srgbClr val="000000"/>
              </a:solidFill>
              <a:effectLst>
                <a:outerShdw blurRad="38100" dist="38100" dir="2700000" algn="tl">
                  <a:srgbClr val="C0C0C0"/>
                </a:outerShdw>
              </a:effectLst>
            </a:endParaRPr>
          </a:p>
          <a:p>
            <a:pPr marL="0" indent="0" eaLnBrk="1" hangingPunct="1">
              <a:lnSpc>
                <a:spcPct val="80000"/>
              </a:lnSpc>
              <a:buSzTx/>
              <a:buNone/>
              <a:defRPr/>
            </a:pPr>
            <a:endParaRPr lang="fr-FR" sz="2800" dirty="0">
              <a:solidFill>
                <a:srgbClr val="000000"/>
              </a:solidFill>
              <a:effectLst>
                <a:outerShdw blurRad="38100" dist="38100" dir="2700000" algn="tl">
                  <a:srgbClr val="C0C0C0"/>
                </a:outerShdw>
              </a:effectLst>
            </a:endParaRPr>
          </a:p>
          <a:p>
            <a:pPr eaLnBrk="1" hangingPunct="1">
              <a:lnSpc>
                <a:spcPct val="80000"/>
              </a:lnSpc>
              <a:buSzTx/>
              <a:buFont typeface="Wingdings" panose="05000000000000000000" pitchFamily="2" charset="2"/>
              <a:buChar char="«"/>
              <a:defRPr/>
            </a:pPr>
            <a:r>
              <a:rPr lang="fr-FR" sz="2800" dirty="0" err="1">
                <a:solidFill>
                  <a:srgbClr val="000000"/>
                </a:solidFill>
                <a:effectLst>
                  <a:outerShdw blurRad="38100" dist="38100" dir="2700000" algn="tl">
                    <a:srgbClr val="C0C0C0"/>
                  </a:outerShdw>
                </a:effectLst>
              </a:rPr>
              <a:t>Visibility</a:t>
            </a:r>
            <a:r>
              <a:rPr lang="fr-FR" sz="2800" dirty="0">
                <a:solidFill>
                  <a:srgbClr val="000000"/>
                </a:solidFill>
                <a:effectLst>
                  <a:outerShdw blurRad="38100" dist="38100" dir="2700000" algn="tl">
                    <a:srgbClr val="C0C0C0"/>
                  </a:outerShdw>
                </a:effectLst>
              </a:rPr>
              <a:t> activations :</a:t>
            </a:r>
          </a:p>
          <a:p>
            <a:pPr lvl="1" eaLnBrk="1" hangingPunct="1">
              <a:lnSpc>
                <a:spcPct val="80000"/>
              </a:lnSpc>
              <a:buSzTx/>
              <a:buFont typeface="Wingdings" panose="05000000000000000000" pitchFamily="2" charset="2"/>
              <a:buChar char="«"/>
              <a:defRPr/>
            </a:pPr>
            <a:r>
              <a:rPr lang="fr-FR" sz="2400" dirty="0">
                <a:solidFill>
                  <a:srgbClr val="000000"/>
                </a:solidFill>
                <a:effectLst>
                  <a:outerShdw blurRad="38100" dist="38100" dir="2700000" algn="tl">
                    <a:srgbClr val="C0C0C0"/>
                  </a:outerShdw>
                </a:effectLst>
              </a:rPr>
              <a:t>2 – 4 </a:t>
            </a:r>
            <a:r>
              <a:rPr lang="fr-FR" sz="2400" dirty="0" err="1">
                <a:solidFill>
                  <a:srgbClr val="000000"/>
                </a:solidFill>
                <a:effectLst>
                  <a:outerShdw blurRad="38100" dist="38100" dir="2700000" algn="tl">
                    <a:srgbClr val="C0C0C0"/>
                  </a:outerShdw>
                </a:effectLst>
              </a:rPr>
              <a:t>billboards</a:t>
            </a:r>
            <a:endParaRPr lang="fr-FR" sz="2000" dirty="0">
              <a:solidFill>
                <a:srgbClr val="000000"/>
              </a:solidFill>
              <a:effectLst>
                <a:outerShdw blurRad="38100" dist="38100" dir="2700000" algn="tl">
                  <a:srgbClr val="C0C0C0"/>
                </a:outerShdw>
              </a:effectLst>
            </a:endParaRPr>
          </a:p>
          <a:p>
            <a:pPr lvl="1" eaLnBrk="1" hangingPunct="1">
              <a:lnSpc>
                <a:spcPct val="80000"/>
              </a:lnSpc>
              <a:buSzTx/>
              <a:buFont typeface="Wingdings" panose="05000000000000000000" pitchFamily="2" charset="2"/>
              <a:buChar char="«"/>
              <a:defRPr/>
            </a:pPr>
            <a:r>
              <a:rPr lang="fr-FR" sz="2400" dirty="0">
                <a:solidFill>
                  <a:srgbClr val="000000"/>
                </a:solidFill>
                <a:effectLst>
                  <a:outerShdw blurRad="38100" dist="38100" dir="2700000" algn="tl">
                    <a:srgbClr val="C0C0C0"/>
                  </a:outerShdw>
                </a:effectLst>
              </a:rPr>
              <a:t>90 min TV broadcast : 10-13 min brand </a:t>
            </a:r>
            <a:r>
              <a:rPr lang="fr-FR" sz="2400" dirty="0" err="1">
                <a:solidFill>
                  <a:srgbClr val="000000"/>
                </a:solidFill>
                <a:effectLst>
                  <a:outerShdw blurRad="38100" dist="38100" dir="2700000" algn="tl">
                    <a:srgbClr val="C0C0C0"/>
                  </a:outerShdw>
                </a:effectLst>
              </a:rPr>
              <a:t>visibility</a:t>
            </a:r>
            <a:endParaRPr lang="fr-FR" sz="2400" dirty="0">
              <a:effectLst>
                <a:outerShdw blurRad="38100" dist="38100" dir="2700000" algn="tl">
                  <a:srgbClr val="C0C0C0"/>
                </a:outerShdw>
              </a:effectLst>
            </a:endParaRPr>
          </a:p>
          <a:p>
            <a:pPr lvl="1" eaLnBrk="1" hangingPunct="1">
              <a:lnSpc>
                <a:spcPct val="80000"/>
              </a:lnSpc>
              <a:buSzTx/>
              <a:buFont typeface="Wingdings" panose="05000000000000000000" pitchFamily="2" charset="2"/>
              <a:buChar char="«"/>
              <a:defRPr/>
            </a:pPr>
            <a:endParaRPr lang="fr-FR" sz="2400" dirty="0">
              <a:effectLst>
                <a:outerShdw blurRad="38100" dist="38100" dir="2700000" algn="tl">
                  <a:srgbClr val="C0C0C0"/>
                </a:outerShdw>
              </a:effectLst>
            </a:endParaRPr>
          </a:p>
        </p:txBody>
      </p:sp>
      <p:pic>
        <p:nvPicPr>
          <p:cNvPr id="41987" name="Picture 3" descr="WC_RGB_OS_Office_HZ_E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1306" y="304419"/>
            <a:ext cx="3224805" cy="98455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2"/>
          <p:cNvSpPr txBox="1">
            <a:spLocks noChangeArrowheads="1"/>
          </p:cNvSpPr>
          <p:nvPr/>
        </p:nvSpPr>
        <p:spPr>
          <a:xfrm>
            <a:off x="6898914" y="1857317"/>
            <a:ext cx="4448462" cy="3168650"/>
          </a:xfrm>
          <a:prstGeom prst="rect">
            <a:avLst/>
          </a:prstGeom>
        </p:spPr>
        <p:txBody>
          <a:bodyPr vert="horz" lIns="0" tIns="45720" rIns="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a:lnSpc>
                <a:spcPct val="80000"/>
              </a:lnSpc>
              <a:buSzTx/>
              <a:buFont typeface="Wingdings" panose="05000000000000000000" pitchFamily="2" charset="2"/>
              <a:buChar char="«"/>
              <a:defRPr/>
            </a:pPr>
            <a:r>
              <a:rPr lang="fr-FR" sz="2800" dirty="0" err="1">
                <a:solidFill>
                  <a:srgbClr val="000000"/>
                </a:solidFill>
                <a:effectLst>
                  <a:outerShdw blurRad="38100" dist="38100" dir="2700000" algn="tl">
                    <a:srgbClr val="C0C0C0"/>
                  </a:outerShdw>
                </a:effectLst>
              </a:rPr>
              <a:t>Sensemaking</a:t>
            </a:r>
            <a:r>
              <a:rPr lang="fr-FR" sz="2800" dirty="0">
                <a:solidFill>
                  <a:srgbClr val="000000"/>
                </a:solidFill>
                <a:effectLst>
                  <a:outerShdw blurRad="38100" dist="38100" dir="2700000" algn="tl">
                    <a:srgbClr val="C0C0C0"/>
                  </a:outerShdw>
                </a:effectLst>
              </a:rPr>
              <a:t> activations </a:t>
            </a:r>
            <a:r>
              <a:rPr lang="fr-FR" dirty="0">
                <a:solidFill>
                  <a:srgbClr val="000000"/>
                </a:solidFill>
                <a:effectLst>
                  <a:outerShdw blurRad="38100" dist="38100" dir="2700000" algn="tl">
                    <a:srgbClr val="C0C0C0"/>
                  </a:outerShdw>
                </a:effectLst>
              </a:rPr>
              <a:t>  </a:t>
            </a:r>
            <a:endParaRPr lang="fr-FR" sz="2800" dirty="0">
              <a:solidFill>
                <a:srgbClr val="000000"/>
              </a:solidFill>
              <a:effectLst>
                <a:outerShdw blurRad="38100" dist="38100" dir="2700000" algn="tl">
                  <a:srgbClr val="C0C0C0"/>
                </a:outerShdw>
              </a:effectLst>
            </a:endParaRPr>
          </a:p>
          <a:p>
            <a:pPr lvl="1">
              <a:lnSpc>
                <a:spcPct val="80000"/>
              </a:lnSpc>
              <a:buFont typeface="Wingdings" panose="05000000000000000000" pitchFamily="2" charset="2"/>
              <a:buChar char="«"/>
              <a:defRPr/>
            </a:pPr>
            <a:r>
              <a:rPr lang="fr-FR" sz="2400" dirty="0" err="1">
                <a:solidFill>
                  <a:srgbClr val="000000"/>
                </a:solidFill>
                <a:effectLst>
                  <a:outerShdw blurRad="38100" dist="38100" dir="2700000" algn="tl">
                    <a:srgbClr val="C0C0C0"/>
                  </a:outerShdw>
                </a:effectLst>
              </a:rPr>
              <a:t>Hospitality</a:t>
            </a:r>
            <a:r>
              <a:rPr lang="fr-FR" sz="2400" dirty="0">
                <a:solidFill>
                  <a:srgbClr val="000000"/>
                </a:solidFill>
                <a:effectLst>
                  <a:outerShdw blurRad="38100" dist="38100" dir="2700000" algn="tl">
                    <a:srgbClr val="C0C0C0"/>
                  </a:outerShdw>
                </a:effectLst>
              </a:rPr>
              <a:t> </a:t>
            </a:r>
          </a:p>
          <a:p>
            <a:pPr lvl="1">
              <a:lnSpc>
                <a:spcPct val="80000"/>
              </a:lnSpc>
              <a:buFont typeface="Wingdings" panose="05000000000000000000" pitchFamily="2" charset="2"/>
              <a:buChar char="«"/>
              <a:defRPr/>
            </a:pPr>
            <a:r>
              <a:rPr lang="fr-FR" sz="2400" dirty="0">
                <a:solidFill>
                  <a:srgbClr val="000000"/>
                </a:solidFill>
                <a:effectLst>
                  <a:outerShdw blurRad="38100" dist="38100" dir="2700000" algn="tl">
                    <a:srgbClr val="C0C0C0"/>
                  </a:outerShdw>
                </a:effectLst>
              </a:rPr>
              <a:t>Master </a:t>
            </a:r>
            <a:r>
              <a:rPr lang="fr-FR" sz="2400" dirty="0" err="1">
                <a:solidFill>
                  <a:srgbClr val="000000"/>
                </a:solidFill>
                <a:effectLst>
                  <a:outerShdw blurRad="38100" dist="38100" dir="2700000" algn="tl">
                    <a:srgbClr val="C0C0C0"/>
                  </a:outerShdw>
                </a:effectLst>
              </a:rPr>
              <a:t>Card</a:t>
            </a:r>
            <a:r>
              <a:rPr lang="fr-FR" sz="2400" dirty="0">
                <a:solidFill>
                  <a:srgbClr val="000000"/>
                </a:solidFill>
                <a:effectLst>
                  <a:outerShdw blurRad="38100" dist="38100" dir="2700000" algn="tl">
                    <a:srgbClr val="C0C0C0"/>
                  </a:outerShdw>
                </a:effectLst>
              </a:rPr>
              <a:t> « </a:t>
            </a:r>
            <a:r>
              <a:rPr lang="fr-FR" sz="2400" dirty="0" err="1">
                <a:solidFill>
                  <a:srgbClr val="000000"/>
                </a:solidFill>
                <a:effectLst>
                  <a:outerShdw blurRad="38100" dist="38100" dir="2700000" algn="tl">
                    <a:srgbClr val="C0C0C0"/>
                  </a:outerShdw>
                </a:effectLst>
              </a:rPr>
              <a:t>Priceless</a:t>
            </a:r>
            <a:r>
              <a:rPr lang="fr-FR" sz="2400" dirty="0">
                <a:solidFill>
                  <a:srgbClr val="000000"/>
                </a:solidFill>
                <a:effectLst>
                  <a:outerShdw blurRad="38100" dist="38100" dir="2700000" algn="tl">
                    <a:srgbClr val="C0C0C0"/>
                  </a:outerShdw>
                </a:effectLst>
              </a:rPr>
              <a:t> Photo » : (Pelé – Klinsmann) / </a:t>
            </a:r>
            <a:r>
              <a:rPr lang="fr-FR" sz="2400" dirty="0" err="1">
                <a:solidFill>
                  <a:srgbClr val="000000"/>
                </a:solidFill>
                <a:effectLst>
                  <a:outerShdw blurRad="38100" dist="38100" dir="2700000" algn="tl">
                    <a:srgbClr val="C0C0C0"/>
                  </a:outerShdw>
                </a:effectLst>
              </a:rPr>
              <a:t>credit</a:t>
            </a:r>
            <a:r>
              <a:rPr lang="fr-FR" sz="2400" dirty="0">
                <a:solidFill>
                  <a:srgbClr val="000000"/>
                </a:solidFill>
                <a:effectLst>
                  <a:outerShdw blurRad="38100" dist="38100" dir="2700000" algn="tl">
                    <a:srgbClr val="C0C0C0"/>
                  </a:outerShdw>
                </a:effectLst>
              </a:rPr>
              <a:t> </a:t>
            </a:r>
            <a:r>
              <a:rPr lang="fr-FR" sz="2400" dirty="0" err="1">
                <a:solidFill>
                  <a:srgbClr val="000000"/>
                </a:solidFill>
                <a:effectLst>
                  <a:outerShdw blurRad="38100" dist="38100" dir="2700000" algn="tl">
                    <a:srgbClr val="C0C0C0"/>
                  </a:outerShdw>
                </a:effectLst>
              </a:rPr>
              <a:t>card</a:t>
            </a:r>
            <a:r>
              <a:rPr lang="fr-FR" sz="2400" dirty="0">
                <a:solidFill>
                  <a:srgbClr val="000000"/>
                </a:solidFill>
                <a:effectLst>
                  <a:outerShdw blurRad="38100" dist="38100" dir="2700000" algn="tl">
                    <a:srgbClr val="C0C0C0"/>
                  </a:outerShdw>
                </a:effectLst>
              </a:rPr>
              <a:t> souvenir</a:t>
            </a:r>
          </a:p>
          <a:p>
            <a:pPr lvl="1">
              <a:lnSpc>
                <a:spcPct val="80000"/>
              </a:lnSpc>
              <a:buFont typeface="Wingdings" panose="05000000000000000000" pitchFamily="2" charset="2"/>
              <a:buChar char="«"/>
              <a:defRPr/>
            </a:pPr>
            <a:r>
              <a:rPr lang="fr-FR" sz="2400" dirty="0" err="1">
                <a:solidFill>
                  <a:srgbClr val="000000"/>
                </a:solidFill>
                <a:effectLst>
                  <a:outerShdw blurRad="38100" dist="38100" dir="2700000" algn="tl">
                    <a:srgbClr val="C0C0C0"/>
                  </a:outerShdw>
                </a:effectLst>
              </a:rPr>
              <a:t>Cities</a:t>
            </a:r>
            <a:r>
              <a:rPr lang="fr-FR" sz="2400" dirty="0">
                <a:solidFill>
                  <a:srgbClr val="000000"/>
                </a:solidFill>
                <a:effectLst>
                  <a:outerShdw blurRad="38100" dist="38100" dir="2700000" algn="tl">
                    <a:srgbClr val="C0C0C0"/>
                  </a:outerShdw>
                </a:effectLst>
              </a:rPr>
              <a:t> soccer </a:t>
            </a:r>
            <a:r>
              <a:rPr lang="fr-FR" sz="2400" dirty="0" err="1">
                <a:solidFill>
                  <a:srgbClr val="000000"/>
                </a:solidFill>
                <a:effectLst>
                  <a:outerShdw blurRad="38100" dist="38100" dir="2700000" algn="tl">
                    <a:srgbClr val="C0C0C0"/>
                  </a:outerShdw>
                </a:effectLst>
              </a:rPr>
              <a:t>championship</a:t>
            </a:r>
            <a:r>
              <a:rPr lang="fr-FR" sz="2400" dirty="0">
                <a:solidFill>
                  <a:srgbClr val="000000"/>
                </a:solidFill>
                <a:effectLst>
                  <a:outerShdw blurRad="38100" dist="38100" dir="2700000" algn="tl">
                    <a:srgbClr val="C0C0C0"/>
                  </a:outerShdw>
                </a:effectLst>
              </a:rPr>
              <a:t> by Master </a:t>
            </a:r>
            <a:r>
              <a:rPr lang="fr-FR" sz="2400" dirty="0" err="1">
                <a:solidFill>
                  <a:srgbClr val="000000"/>
                </a:solidFill>
                <a:effectLst>
                  <a:outerShdw blurRad="38100" dist="38100" dir="2700000" algn="tl">
                    <a:srgbClr val="C0C0C0"/>
                  </a:outerShdw>
                </a:effectLst>
              </a:rPr>
              <a:t>Card</a:t>
            </a:r>
            <a:endParaRPr lang="fr-FR" sz="2400" dirty="0">
              <a:solidFill>
                <a:srgbClr val="000000"/>
              </a:solidFill>
              <a:effectLst>
                <a:outerShdw blurRad="38100" dist="38100" dir="2700000" algn="tl">
                  <a:srgbClr val="C0C0C0"/>
                </a:outerShdw>
              </a:effectLst>
            </a:endParaRPr>
          </a:p>
        </p:txBody>
      </p:sp>
      <p:pic>
        <p:nvPicPr>
          <p:cNvPr id="6" name="Picture 5" descr="00763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61438" y="4581525"/>
            <a:ext cx="2376487" cy="158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CD (1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08730" y="4581525"/>
            <a:ext cx="2305050" cy="158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 descr="Card 0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19224" y="6121"/>
            <a:ext cx="2374900" cy="1581150"/>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1486164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7463" name="Rectangle 147462">
            <a:extLst>
              <a:ext uri="{FF2B5EF4-FFF2-40B4-BE49-F238E27FC236}">
                <a16:creationId xmlns:a16="http://schemas.microsoft.com/office/drawing/2014/main" id="{9CDF6DAD-6680-48EA-B64B-A5F5A4E463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7794" y="364885"/>
            <a:ext cx="6025896" cy="579292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458" name="Rectangle 2"/>
          <p:cNvSpPr>
            <a:spLocks noGrp="1" noChangeArrowheads="1"/>
          </p:cNvSpPr>
          <p:nvPr>
            <p:ph idx="1"/>
          </p:nvPr>
        </p:nvSpPr>
        <p:spPr>
          <a:xfrm>
            <a:off x="950976" y="2066544"/>
            <a:ext cx="5374494" cy="3788346"/>
          </a:xfrm>
        </p:spPr>
        <p:txBody>
          <a:bodyPr>
            <a:normAutofit/>
          </a:bodyPr>
          <a:lstStyle/>
          <a:p>
            <a:pPr eaLnBrk="1" hangingPunct="1">
              <a:buSzTx/>
              <a:buFont typeface="Wingdings" panose="05000000000000000000" pitchFamily="2" charset="2"/>
              <a:buChar char="«"/>
              <a:defRPr/>
            </a:pPr>
            <a:r>
              <a:rPr lang="fr-FR" sz="1200">
                <a:solidFill>
                  <a:schemeClr val="bg1"/>
                </a:solidFill>
                <a:effectLst>
                  <a:outerShdw blurRad="38100" dist="38100" dir="2700000" algn="tl">
                    <a:srgbClr val="C0C0C0"/>
                  </a:outerShdw>
                </a:effectLst>
              </a:rPr>
              <a:t>Visibility activation :</a:t>
            </a:r>
          </a:p>
          <a:p>
            <a:pPr lvl="1">
              <a:buFont typeface="Wingdings" panose="05000000000000000000" pitchFamily="2" charset="2"/>
              <a:buChar char="«"/>
              <a:defRPr/>
            </a:pPr>
            <a:r>
              <a:rPr lang="fr-FR" sz="1200">
                <a:solidFill>
                  <a:schemeClr val="bg1"/>
                </a:solidFill>
                <a:effectLst>
                  <a:outerShdw blurRad="38100" dist="38100" dir="2700000" algn="tl">
                    <a:srgbClr val="C0C0C0"/>
                  </a:outerShdw>
                </a:effectLst>
              </a:rPr>
              <a:t>2 – 4 billboards</a:t>
            </a:r>
          </a:p>
          <a:p>
            <a:pPr eaLnBrk="1" hangingPunct="1">
              <a:buSzTx/>
              <a:buFont typeface="Wingdings" panose="05000000000000000000" pitchFamily="2" charset="2"/>
              <a:buChar char="«"/>
              <a:defRPr/>
            </a:pPr>
            <a:endParaRPr lang="fr-FR" sz="1200">
              <a:solidFill>
                <a:schemeClr val="bg1"/>
              </a:solidFill>
              <a:effectLst>
                <a:outerShdw blurRad="38100" dist="38100" dir="2700000" algn="tl">
                  <a:srgbClr val="C0C0C0"/>
                </a:outerShdw>
              </a:effectLst>
            </a:endParaRPr>
          </a:p>
          <a:p>
            <a:pPr eaLnBrk="1" hangingPunct="1">
              <a:spcBef>
                <a:spcPct val="0"/>
              </a:spcBef>
              <a:buClrTx/>
              <a:buSzTx/>
              <a:buFont typeface="Wingdings" panose="05000000000000000000" pitchFamily="2" charset="2"/>
              <a:buChar char="«"/>
              <a:defRPr/>
            </a:pPr>
            <a:r>
              <a:rPr lang="fr-FR" sz="1200">
                <a:solidFill>
                  <a:schemeClr val="bg1"/>
                </a:solidFill>
                <a:effectLst>
                  <a:outerShdw blurRad="38100" dist="38100" dir="2700000" algn="tl">
                    <a:srgbClr val="C0C0C0"/>
                  </a:outerShdw>
                </a:effectLst>
              </a:rPr>
              <a:t>Sensemaking activations »:</a:t>
            </a:r>
          </a:p>
          <a:p>
            <a:pPr lvl="1" eaLnBrk="1" hangingPunct="1">
              <a:spcBef>
                <a:spcPct val="0"/>
              </a:spcBef>
              <a:buClrTx/>
              <a:buSzTx/>
              <a:buFont typeface="Wingdings" panose="05000000000000000000" pitchFamily="2" charset="2"/>
              <a:buChar char="«"/>
              <a:defRPr/>
            </a:pPr>
            <a:r>
              <a:rPr lang="fr-FR" sz="1200">
                <a:solidFill>
                  <a:schemeClr val="bg1"/>
                </a:solidFill>
                <a:effectLst>
                  <a:outerShdw blurRad="38100" dist="38100" dir="2700000" algn="tl">
                    <a:srgbClr val="C0C0C0"/>
                  </a:outerShdw>
                </a:effectLst>
              </a:rPr>
              <a:t>McDonald’s Player Escort Program : 1048 children (6-10 years)</a:t>
            </a:r>
          </a:p>
          <a:p>
            <a:pPr marL="201168" lvl="1" indent="0" eaLnBrk="1" hangingPunct="1">
              <a:spcBef>
                <a:spcPct val="0"/>
              </a:spcBef>
              <a:buClrTx/>
              <a:buSzTx/>
              <a:buNone/>
              <a:defRPr/>
            </a:pPr>
            <a:endParaRPr lang="fr-FR" sz="1200">
              <a:solidFill>
                <a:schemeClr val="bg1"/>
              </a:solidFill>
              <a:effectLst>
                <a:outerShdw blurRad="38100" dist="38100" dir="2700000" algn="tl">
                  <a:srgbClr val="C0C0C0"/>
                </a:outerShdw>
              </a:effectLst>
            </a:endParaRPr>
          </a:p>
          <a:p>
            <a:pPr lvl="1" eaLnBrk="1" hangingPunct="1">
              <a:spcBef>
                <a:spcPct val="0"/>
              </a:spcBef>
              <a:buClrTx/>
              <a:buSzTx/>
              <a:buFont typeface="Wingdings" panose="05000000000000000000" pitchFamily="2" charset="2"/>
              <a:buChar char="«"/>
              <a:defRPr/>
            </a:pPr>
            <a:r>
              <a:rPr lang="fr-FR" sz="1200">
                <a:solidFill>
                  <a:schemeClr val="bg1"/>
                </a:solidFill>
                <a:effectLst>
                  <a:outerShdw blurRad="38100" dist="38100" dir="2700000" algn="tl">
                    <a:srgbClr val="C0C0C0"/>
                  </a:outerShdw>
                </a:effectLst>
              </a:rPr>
              <a:t>Special promotions :</a:t>
            </a:r>
          </a:p>
          <a:p>
            <a:pPr lvl="2" eaLnBrk="1" hangingPunct="1">
              <a:spcBef>
                <a:spcPct val="0"/>
              </a:spcBef>
              <a:buClrTx/>
              <a:buFont typeface="Wingdings" pitchFamily="2" charset="2"/>
              <a:buChar char="«"/>
              <a:defRPr/>
            </a:pPr>
            <a:r>
              <a:rPr lang="fr-FR" sz="1200">
                <a:solidFill>
                  <a:schemeClr val="bg1"/>
                </a:solidFill>
                <a:effectLst>
                  <a:outerShdw blurRad="38100" dist="38100" dir="2700000" algn="tl">
                    <a:srgbClr val="C0C0C0"/>
                  </a:outerShdw>
                </a:effectLst>
              </a:rPr>
              <a:t>Germany : Goleo / Celebrity endorsment / Tickets</a:t>
            </a:r>
          </a:p>
          <a:p>
            <a:pPr lvl="2" eaLnBrk="1" hangingPunct="1">
              <a:spcBef>
                <a:spcPct val="0"/>
              </a:spcBef>
              <a:buClrTx/>
              <a:buFont typeface="Wingdings" pitchFamily="2" charset="2"/>
              <a:buChar char="«"/>
              <a:defRPr/>
            </a:pPr>
            <a:r>
              <a:rPr lang="fr-FR" sz="1200">
                <a:solidFill>
                  <a:schemeClr val="bg1"/>
                </a:solidFill>
                <a:effectLst>
                  <a:outerShdw blurRad="38100" dist="38100" dir="2700000" algn="tl">
                    <a:srgbClr val="C0C0C0"/>
                  </a:outerShdw>
                </a:effectLst>
              </a:rPr>
              <a:t>Brazil : Countries Burgers</a:t>
            </a:r>
          </a:p>
          <a:p>
            <a:pPr lvl="2" eaLnBrk="1" hangingPunct="1">
              <a:spcBef>
                <a:spcPct val="0"/>
              </a:spcBef>
              <a:buClrTx/>
              <a:buFont typeface="Wingdings" pitchFamily="2" charset="2"/>
              <a:buChar char="«"/>
              <a:defRPr/>
            </a:pPr>
            <a:r>
              <a:rPr lang="fr-FR" sz="1200">
                <a:solidFill>
                  <a:schemeClr val="bg1"/>
                </a:solidFill>
                <a:effectLst>
                  <a:outerShdw blurRad="38100" dist="38100" dir="2700000" algn="tl">
                    <a:srgbClr val="C0C0C0"/>
                  </a:outerShdw>
                </a:effectLst>
              </a:rPr>
              <a:t>China : TV adverstersing and goodies</a:t>
            </a:r>
          </a:p>
          <a:p>
            <a:pPr lvl="2" eaLnBrk="1" hangingPunct="1">
              <a:spcBef>
                <a:spcPct val="0"/>
              </a:spcBef>
              <a:buClrTx/>
              <a:buFont typeface="Wingdings" pitchFamily="2" charset="2"/>
              <a:buChar char="«"/>
              <a:defRPr/>
            </a:pPr>
            <a:r>
              <a:rPr lang="fr-FR" sz="1200">
                <a:solidFill>
                  <a:schemeClr val="bg1"/>
                </a:solidFill>
                <a:effectLst>
                  <a:outerShdw blurRad="38100" dist="38100" dir="2700000" algn="tl">
                    <a:srgbClr val="C0C0C0"/>
                  </a:outerShdw>
                </a:effectLst>
              </a:rPr>
              <a:t>USA : Limited goodies FIFA World Cup</a:t>
            </a:r>
          </a:p>
          <a:p>
            <a:pPr lvl="2" eaLnBrk="1" hangingPunct="1">
              <a:spcBef>
                <a:spcPct val="0"/>
              </a:spcBef>
              <a:buClrTx/>
              <a:buFont typeface="Wingdings" pitchFamily="2" charset="2"/>
              <a:buChar char="«"/>
              <a:defRPr/>
            </a:pPr>
            <a:r>
              <a:rPr lang="fr-FR" sz="1200">
                <a:solidFill>
                  <a:schemeClr val="bg1"/>
                </a:solidFill>
                <a:effectLst>
                  <a:outerShdw blurRad="38100" dist="38100" dir="2700000" algn="tl">
                    <a:srgbClr val="C0C0C0"/>
                  </a:outerShdw>
                </a:effectLst>
              </a:rPr>
              <a:t>India : coccer table games Mcdonald’s</a:t>
            </a:r>
          </a:p>
          <a:p>
            <a:pPr lvl="2" eaLnBrk="1" hangingPunct="1">
              <a:spcBef>
                <a:spcPct val="0"/>
              </a:spcBef>
              <a:buClrTx/>
              <a:buFont typeface="Wingdings" pitchFamily="2" charset="2"/>
              <a:buChar char="«"/>
              <a:defRPr/>
            </a:pPr>
            <a:r>
              <a:rPr lang="fr-FR" sz="1200">
                <a:solidFill>
                  <a:schemeClr val="bg1"/>
                </a:solidFill>
                <a:effectLst>
                  <a:outerShdw blurRad="38100" dist="38100" dir="2700000" algn="tl">
                    <a:srgbClr val="C0C0C0"/>
                  </a:outerShdw>
                </a:effectLst>
              </a:rPr>
              <a:t>Japan : Mini balls and mino Goleo</a:t>
            </a:r>
          </a:p>
          <a:p>
            <a:pPr lvl="2" eaLnBrk="1" hangingPunct="1">
              <a:spcBef>
                <a:spcPct val="0"/>
              </a:spcBef>
              <a:buClrTx/>
              <a:buFont typeface="Wingdings" pitchFamily="2" charset="2"/>
              <a:buChar char="«"/>
              <a:defRPr/>
            </a:pPr>
            <a:r>
              <a:rPr lang="fr-FR" sz="1200">
                <a:solidFill>
                  <a:schemeClr val="bg1"/>
                </a:solidFill>
                <a:effectLst>
                  <a:outerShdw blurRad="38100" dist="38100" dir="2700000" algn="tl">
                    <a:srgbClr val="C0C0C0"/>
                  </a:outerShdw>
                </a:effectLst>
              </a:rPr>
              <a:t>Mexico : packaging </a:t>
            </a:r>
          </a:p>
          <a:p>
            <a:pPr lvl="2" eaLnBrk="1" hangingPunct="1">
              <a:spcBef>
                <a:spcPct val="0"/>
              </a:spcBef>
              <a:buClrTx/>
              <a:buFont typeface="Wingdings" pitchFamily="2" charset="2"/>
              <a:buChar char="«"/>
              <a:defRPr/>
            </a:pPr>
            <a:r>
              <a:rPr lang="fr-FR" sz="1200">
                <a:solidFill>
                  <a:schemeClr val="bg1"/>
                </a:solidFill>
                <a:effectLst>
                  <a:outerShdw blurRad="38100" dist="38100" dir="2700000" algn="tl">
                    <a:srgbClr val="C0C0C0"/>
                  </a:outerShdw>
                </a:effectLst>
              </a:rPr>
              <a:t>UK : mobile games« A tex to Win » with Georges Hurst (CDM 1966)</a:t>
            </a:r>
          </a:p>
          <a:p>
            <a:pPr lvl="1" eaLnBrk="1" hangingPunct="1">
              <a:spcBef>
                <a:spcPct val="0"/>
              </a:spcBef>
              <a:buClrTx/>
              <a:buSzTx/>
              <a:buFont typeface="Wingdings" panose="05000000000000000000" pitchFamily="2" charset="2"/>
              <a:buChar char="«"/>
              <a:defRPr/>
            </a:pPr>
            <a:r>
              <a:rPr lang="fr-FR" sz="1200">
                <a:solidFill>
                  <a:schemeClr val="bg1"/>
                </a:solidFill>
                <a:effectLst>
                  <a:outerShdw blurRad="38100" dist="38100" dir="2700000" algn="tl">
                    <a:srgbClr val="C0C0C0"/>
                  </a:outerShdw>
                </a:effectLst>
              </a:rPr>
              <a:t>Exclusivity : FIFA Fantasy football </a:t>
            </a:r>
          </a:p>
          <a:p>
            <a:pPr lvl="1" eaLnBrk="1" hangingPunct="1">
              <a:spcBef>
                <a:spcPct val="0"/>
              </a:spcBef>
              <a:buClrTx/>
              <a:buSzTx/>
              <a:buFont typeface="Wingdings" panose="05000000000000000000" pitchFamily="2" charset="2"/>
              <a:buChar char="«"/>
              <a:defRPr/>
            </a:pPr>
            <a:r>
              <a:rPr lang="fr-FR" sz="1200">
                <a:solidFill>
                  <a:schemeClr val="bg1"/>
                </a:solidFill>
                <a:effectLst>
                  <a:outerShdw blurRad="38100" dist="38100" dir="2700000" algn="tl">
                    <a:srgbClr val="C0C0C0"/>
                  </a:outerShdw>
                </a:effectLst>
              </a:rPr>
              <a:t>Salads, fruits… McCofee… </a:t>
            </a:r>
          </a:p>
          <a:p>
            <a:pPr marL="0" indent="0" eaLnBrk="1" hangingPunct="1">
              <a:spcBef>
                <a:spcPct val="0"/>
              </a:spcBef>
              <a:buClrTx/>
              <a:buSzTx/>
              <a:buNone/>
              <a:defRPr/>
            </a:pPr>
            <a:endParaRPr lang="fr-FR" sz="1200">
              <a:solidFill>
                <a:schemeClr val="bg1"/>
              </a:solidFill>
              <a:effectLst>
                <a:outerShdw blurRad="38100" dist="38100" dir="2700000" algn="tl">
                  <a:srgbClr val="C0C0C0"/>
                </a:outerShdw>
              </a:effectLst>
            </a:endParaRPr>
          </a:p>
          <a:p>
            <a:pPr eaLnBrk="1" hangingPunct="1">
              <a:spcBef>
                <a:spcPct val="0"/>
              </a:spcBef>
              <a:buClrTx/>
              <a:buSzTx/>
              <a:buFont typeface="Wingdings" panose="05000000000000000000" pitchFamily="2" charset="2"/>
              <a:buNone/>
              <a:defRPr/>
            </a:pPr>
            <a:r>
              <a:rPr lang="fr-FR" sz="1200" b="1">
                <a:solidFill>
                  <a:schemeClr val="bg1"/>
                </a:solidFill>
                <a:effectLst>
                  <a:outerShdw blurRad="38100" dist="38100" dir="2700000" algn="tl">
                    <a:srgbClr val="C0C0C0"/>
                  </a:outerShdw>
                </a:effectLst>
              </a:rPr>
              <a:t>SALES PROMOTION + SOCCER ENGAGEMENT</a:t>
            </a:r>
          </a:p>
          <a:p>
            <a:pPr eaLnBrk="1" hangingPunct="1">
              <a:spcBef>
                <a:spcPct val="0"/>
              </a:spcBef>
              <a:buClrTx/>
              <a:buSzTx/>
              <a:buFont typeface="Wingdings" panose="05000000000000000000" pitchFamily="2" charset="2"/>
              <a:buNone/>
              <a:defRPr/>
            </a:pPr>
            <a:r>
              <a:rPr lang="fr-FR" sz="1200">
                <a:solidFill>
                  <a:schemeClr val="bg1"/>
                </a:solidFill>
                <a:effectLst>
                  <a:outerShdw blurRad="38100" dist="38100" dir="2700000" algn="tl">
                    <a:srgbClr val="C0C0C0"/>
                  </a:outerShdw>
                </a:effectLst>
              </a:rPr>
              <a:t>   </a:t>
            </a:r>
          </a:p>
        </p:txBody>
      </p:sp>
      <p:pic>
        <p:nvPicPr>
          <p:cNvPr id="2" name="Imag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30766" y="436969"/>
            <a:ext cx="4663440" cy="2646502"/>
          </a:xfrm>
          <a:prstGeom prst="rect">
            <a:avLst/>
          </a:prstGeom>
          <a:scene3d>
            <a:camera prst="perspectiveRelaxed">
              <a:rot lat="19800000" lon="1200000" rev="20820000"/>
            </a:camera>
            <a:lightRig rig="threePt" dir="t"/>
          </a:scene3d>
          <a:sp3d contourW="6350" prstMaterial="matte">
            <a:bevelT w="101600" h="101600"/>
            <a:contourClr>
              <a:srgbClr val="969696"/>
            </a:contourClr>
          </a:sp3d>
        </p:spPr>
      </p:pic>
      <p:pic>
        <p:nvPicPr>
          <p:cNvPr id="44035"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930766" y="3560186"/>
            <a:ext cx="4663440" cy="240633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5669788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Image 1"/>
          <p:cNvPicPr>
            <a:picLocks noChangeAspect="1"/>
          </p:cNvPicPr>
          <p:nvPr/>
        </p:nvPicPr>
        <p:blipFill rotWithShape="1">
          <a:blip r:embed="rId2">
            <a:extLst>
              <a:ext uri="{28A0092B-C50C-407E-A947-70E740481C1C}">
                <a14:useLocalDpi xmlns:a14="http://schemas.microsoft.com/office/drawing/2010/main" val="0"/>
              </a:ext>
            </a:extLst>
          </a:blip>
          <a:srcRect t="1464" r="1" b="14796"/>
          <a:stretch/>
        </p:blipFill>
        <p:spPr>
          <a:xfrm>
            <a:off x="643467" y="685170"/>
            <a:ext cx="5291666" cy="5487660"/>
          </a:xfrm>
          <a:prstGeom prst="rect">
            <a:avLst/>
          </a:prstGeom>
        </p:spPr>
      </p:pic>
      <p:pic>
        <p:nvPicPr>
          <p:cNvPr id="4" name="Image 3"/>
          <p:cNvPicPr>
            <a:picLocks noChangeAspect="1"/>
          </p:cNvPicPr>
          <p:nvPr/>
        </p:nvPicPr>
        <p:blipFill rotWithShape="1">
          <a:blip r:embed="rId3">
            <a:extLst>
              <a:ext uri="{28A0092B-C50C-407E-A947-70E740481C1C}">
                <a14:useLocalDpi xmlns:a14="http://schemas.microsoft.com/office/drawing/2010/main" val="0"/>
              </a:ext>
            </a:extLst>
          </a:blip>
          <a:srcRect l="25004" r="20754" b="-1"/>
          <a:stretch/>
        </p:blipFill>
        <p:spPr>
          <a:xfrm>
            <a:off x="6256865" y="685192"/>
            <a:ext cx="5291667" cy="5487615"/>
          </a:xfrm>
          <a:prstGeom prst="rect">
            <a:avLst/>
          </a:prstGeom>
          <a:solidFill>
            <a:srgbClr val="FFFFFF">
              <a:shade val="85000"/>
            </a:srgbClr>
          </a:solidFill>
        </p:spPr>
      </p:pic>
    </p:spTree>
    <p:extLst>
      <p:ext uri="{BB962C8B-B14F-4D97-AF65-F5344CB8AC3E}">
        <p14:creationId xmlns:p14="http://schemas.microsoft.com/office/powerpoint/2010/main" val="359005942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Image 1"/>
          <p:cNvPicPr>
            <a:picLocks noChangeAspect="1"/>
          </p:cNvPicPr>
          <p:nvPr/>
        </p:nvPicPr>
        <p:blipFill rotWithShape="1">
          <a:blip r:embed="rId2">
            <a:extLst>
              <a:ext uri="{28A0092B-C50C-407E-A947-70E740481C1C}">
                <a14:useLocalDpi xmlns:a14="http://schemas.microsoft.com/office/drawing/2010/main" val="0"/>
              </a:ext>
            </a:extLst>
          </a:blip>
          <a:srcRect l="7352" r="12610" b="-2"/>
          <a:stretch/>
        </p:blipFill>
        <p:spPr>
          <a:xfrm>
            <a:off x="643467" y="643467"/>
            <a:ext cx="5372099" cy="5571066"/>
          </a:xfrm>
          <a:prstGeom prst="rect">
            <a:avLst/>
          </a:prstGeom>
          <a:solidFill>
            <a:srgbClr val="FFFFFF">
              <a:shade val="85000"/>
            </a:srgbClr>
          </a:solidFill>
        </p:spPr>
      </p:pic>
      <p:pic>
        <p:nvPicPr>
          <p:cNvPr id="3" name="Image 2"/>
          <p:cNvPicPr>
            <a:picLocks noChangeAspect="1"/>
          </p:cNvPicPr>
          <p:nvPr/>
        </p:nvPicPr>
        <p:blipFill rotWithShape="1">
          <a:blip r:embed="rId3">
            <a:extLst>
              <a:ext uri="{28A0092B-C50C-407E-A947-70E740481C1C}">
                <a14:useLocalDpi xmlns:a14="http://schemas.microsoft.com/office/drawing/2010/main" val="0"/>
              </a:ext>
            </a:extLst>
          </a:blip>
          <a:srcRect l="16886" r="14648" b="-2"/>
          <a:stretch/>
        </p:blipFill>
        <p:spPr>
          <a:xfrm>
            <a:off x="6176433" y="640927"/>
            <a:ext cx="5372099" cy="5571066"/>
          </a:xfrm>
          <a:prstGeom prst="rect">
            <a:avLst/>
          </a:prstGeom>
          <a:solidFill>
            <a:srgbClr val="FFFFFF">
              <a:shade val="85000"/>
            </a:srgbClr>
          </a:solidFill>
        </p:spPr>
      </p:pic>
    </p:spTree>
    <p:extLst>
      <p:ext uri="{BB962C8B-B14F-4D97-AF65-F5344CB8AC3E}">
        <p14:creationId xmlns:p14="http://schemas.microsoft.com/office/powerpoint/2010/main" val="412198225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3" name="Rectangle 3"/>
          <p:cNvSpPr>
            <a:spLocks noGrp="1" noChangeArrowheads="1"/>
          </p:cNvSpPr>
          <p:nvPr>
            <p:ph idx="1"/>
          </p:nvPr>
        </p:nvSpPr>
        <p:spPr>
          <a:xfrm>
            <a:off x="1151467" y="1241779"/>
            <a:ext cx="9070446" cy="5024086"/>
          </a:xfrm>
        </p:spPr>
        <p:txBody>
          <a:bodyPr>
            <a:normAutofit lnSpcReduction="10000"/>
          </a:bodyPr>
          <a:lstStyle/>
          <a:p>
            <a:pPr eaLnBrk="1" hangingPunct="1">
              <a:lnSpc>
                <a:spcPct val="80000"/>
              </a:lnSpc>
              <a:buFont typeface="Wingdings" panose="05000000000000000000" pitchFamily="2" charset="2"/>
              <a:buChar char="¶"/>
              <a:defRPr/>
            </a:pPr>
            <a:r>
              <a:rPr lang="fr-FR" sz="1600" b="1" dirty="0">
                <a:solidFill>
                  <a:srgbClr val="000000"/>
                </a:solidFill>
                <a:effectLst>
                  <a:outerShdw blurRad="38100" dist="38100" dir="2700000" algn="tl">
                    <a:srgbClr val="C0C0C0"/>
                  </a:outerShdw>
                </a:effectLst>
              </a:rPr>
              <a:t>Françoise Bresson (Sponsoring </a:t>
            </a:r>
            <a:r>
              <a:rPr lang="fr-FR" sz="1600" b="1" dirty="0" err="1">
                <a:solidFill>
                  <a:srgbClr val="000000"/>
                </a:solidFill>
                <a:effectLst>
                  <a:outerShdw blurRad="38100" dist="38100" dir="2700000" algn="tl">
                    <a:srgbClr val="C0C0C0"/>
                  </a:outerShdw>
                </a:effectLst>
              </a:rPr>
              <a:t>Director</a:t>
            </a:r>
            <a:r>
              <a:rPr lang="fr-FR" sz="1600" b="1" dirty="0">
                <a:solidFill>
                  <a:srgbClr val="000000"/>
                </a:solidFill>
                <a:effectLst>
                  <a:outerShdw blurRad="38100" dist="38100" dir="2700000" algn="tl">
                    <a:srgbClr val="C0C0C0"/>
                  </a:outerShdw>
                </a:effectLst>
              </a:rPr>
              <a:t> Nestlé Waters - Vittel) : « Link </a:t>
            </a:r>
            <a:r>
              <a:rPr lang="fr-FR" sz="1600" b="1" dirty="0" err="1">
                <a:solidFill>
                  <a:srgbClr val="000000"/>
                </a:solidFill>
                <a:effectLst>
                  <a:outerShdw blurRad="38100" dist="38100" dir="2700000" algn="tl">
                    <a:srgbClr val="C0C0C0"/>
                  </a:outerShdw>
                </a:effectLst>
              </a:rPr>
              <a:t>with</a:t>
            </a:r>
            <a:r>
              <a:rPr lang="fr-FR" sz="1600" b="1" dirty="0">
                <a:solidFill>
                  <a:srgbClr val="000000"/>
                </a:solidFill>
                <a:effectLst>
                  <a:outerShdw blurRad="38100" dist="38100" dir="2700000" algn="tl">
                    <a:srgbClr val="C0C0C0"/>
                  </a:outerShdw>
                </a:effectLst>
              </a:rPr>
              <a:t> the public </a:t>
            </a:r>
            <a:r>
              <a:rPr lang="fr-FR" sz="1600" b="1" dirty="0" err="1">
                <a:solidFill>
                  <a:srgbClr val="000000"/>
                </a:solidFill>
                <a:effectLst>
                  <a:outerShdw blurRad="38100" dist="38100" dir="2700000" algn="tl">
                    <a:srgbClr val="C0C0C0"/>
                  </a:outerShdw>
                </a:effectLst>
              </a:rPr>
              <a:t>with</a:t>
            </a:r>
            <a:r>
              <a:rPr lang="fr-FR" sz="1600" b="1" dirty="0">
                <a:solidFill>
                  <a:srgbClr val="000000"/>
                </a:solidFill>
                <a:effectLst>
                  <a:outerShdw blurRad="38100" dist="38100" dir="2700000" algn="tl">
                    <a:srgbClr val="C0C0C0"/>
                  </a:outerShdw>
                </a:effectLst>
              </a:rPr>
              <a:t> « La caravane », TDF platform </a:t>
            </a:r>
            <a:r>
              <a:rPr lang="fr-FR" sz="1600" b="1" dirty="0" err="1">
                <a:solidFill>
                  <a:srgbClr val="000000"/>
                </a:solidFill>
                <a:effectLst>
                  <a:outerShdw blurRad="38100" dist="38100" dir="2700000" algn="tl">
                    <a:srgbClr val="C0C0C0"/>
                  </a:outerShdw>
                </a:effectLst>
              </a:rPr>
              <a:t>is</a:t>
            </a:r>
            <a:r>
              <a:rPr lang="fr-FR" sz="1600" b="1" dirty="0">
                <a:solidFill>
                  <a:srgbClr val="000000"/>
                </a:solidFill>
                <a:effectLst>
                  <a:outerShdw blurRad="38100" dist="38100" dir="2700000" algn="tl">
                    <a:srgbClr val="C0C0C0"/>
                  </a:outerShdw>
                </a:effectLst>
              </a:rPr>
              <a:t> </a:t>
            </a:r>
            <a:r>
              <a:rPr lang="fr-FR" sz="1600" b="1" dirty="0" err="1">
                <a:solidFill>
                  <a:srgbClr val="000000"/>
                </a:solidFill>
                <a:effectLst>
                  <a:outerShdw blurRad="38100" dist="38100" dir="2700000" algn="tl">
                    <a:srgbClr val="C0C0C0"/>
                  </a:outerShdw>
                </a:effectLst>
              </a:rPr>
              <a:t>complete</a:t>
            </a:r>
            <a:r>
              <a:rPr lang="fr-FR" sz="1600" b="1" dirty="0">
                <a:solidFill>
                  <a:srgbClr val="000000"/>
                </a:solidFill>
                <a:effectLst>
                  <a:outerShdw blurRad="38100" dist="38100" dir="2700000" algn="tl">
                    <a:srgbClr val="C0C0C0"/>
                  </a:outerShdw>
                </a:effectLst>
              </a:rPr>
              <a:t> and </a:t>
            </a:r>
            <a:r>
              <a:rPr lang="fr-FR" sz="1600" b="1" dirty="0" err="1">
                <a:solidFill>
                  <a:srgbClr val="000000"/>
                </a:solidFill>
                <a:effectLst>
                  <a:outerShdw blurRad="38100" dist="38100" dir="2700000" algn="tl">
                    <a:srgbClr val="C0C0C0"/>
                  </a:outerShdw>
                </a:effectLst>
              </a:rPr>
              <a:t>we</a:t>
            </a:r>
            <a:r>
              <a:rPr lang="fr-FR" sz="1600" b="1" dirty="0">
                <a:solidFill>
                  <a:srgbClr val="000000"/>
                </a:solidFill>
                <a:effectLst>
                  <a:outerShdw blurRad="38100" dist="38100" dir="2700000" algn="tl">
                    <a:srgbClr val="C0C0C0"/>
                  </a:outerShdw>
                </a:effectLst>
              </a:rPr>
              <a:t> can </a:t>
            </a:r>
            <a:r>
              <a:rPr lang="fr-FR" sz="1600" b="1" dirty="0" err="1">
                <a:solidFill>
                  <a:srgbClr val="000000"/>
                </a:solidFill>
                <a:effectLst>
                  <a:outerShdw blurRad="38100" dist="38100" dir="2700000" algn="tl">
                    <a:srgbClr val="C0C0C0"/>
                  </a:outerShdw>
                </a:effectLst>
              </a:rPr>
              <a:t>meet</a:t>
            </a:r>
            <a:r>
              <a:rPr lang="fr-FR" sz="1600" b="1" dirty="0">
                <a:solidFill>
                  <a:srgbClr val="000000"/>
                </a:solidFill>
                <a:effectLst>
                  <a:outerShdw blurRad="38100" dist="38100" dir="2700000" algn="tl">
                    <a:srgbClr val="C0C0C0"/>
                  </a:outerShdw>
                </a:effectLst>
              </a:rPr>
              <a:t> </a:t>
            </a:r>
            <a:r>
              <a:rPr lang="fr-FR" sz="1600" b="1" dirty="0" err="1">
                <a:solidFill>
                  <a:srgbClr val="000000"/>
                </a:solidFill>
                <a:effectLst>
                  <a:outerShdw blurRad="38100" dist="38100" dir="2700000" algn="tl">
                    <a:srgbClr val="C0C0C0"/>
                  </a:outerShdw>
                </a:effectLst>
              </a:rPr>
              <a:t>our</a:t>
            </a:r>
            <a:r>
              <a:rPr lang="fr-FR" sz="1600" b="1" dirty="0">
                <a:solidFill>
                  <a:srgbClr val="000000"/>
                </a:solidFill>
                <a:effectLst>
                  <a:outerShdw blurRad="38100" dist="38100" dir="2700000" algn="tl">
                    <a:srgbClr val="C0C0C0"/>
                  </a:outerShdw>
                </a:effectLst>
              </a:rPr>
              <a:t> </a:t>
            </a:r>
            <a:r>
              <a:rPr lang="fr-FR" sz="1600" b="1" dirty="0" err="1">
                <a:solidFill>
                  <a:srgbClr val="000000"/>
                </a:solidFill>
                <a:effectLst>
                  <a:outerShdw blurRad="38100" dist="38100" dir="2700000" algn="tl">
                    <a:srgbClr val="C0C0C0"/>
                  </a:outerShdw>
                </a:effectLst>
              </a:rPr>
              <a:t>consumers</a:t>
            </a:r>
            <a:r>
              <a:rPr lang="fr-FR" sz="1600" b="1" dirty="0">
                <a:solidFill>
                  <a:srgbClr val="000000"/>
                </a:solidFill>
                <a:effectLst>
                  <a:outerShdw blurRad="38100" dist="38100" dir="2700000" algn="tl">
                    <a:srgbClr val="C0C0C0"/>
                  </a:outerShdw>
                </a:effectLst>
              </a:rPr>
              <a:t>… » </a:t>
            </a:r>
          </a:p>
          <a:p>
            <a:pPr eaLnBrk="1" hangingPunct="1">
              <a:lnSpc>
                <a:spcPct val="80000"/>
              </a:lnSpc>
              <a:buFont typeface="Wingdings" panose="05000000000000000000" pitchFamily="2" charset="2"/>
              <a:buChar char="¶"/>
              <a:defRPr/>
            </a:pPr>
            <a:r>
              <a:rPr lang="fr-FR" sz="1800" b="1" dirty="0">
                <a:solidFill>
                  <a:srgbClr val="000000"/>
                </a:solidFill>
                <a:effectLst>
                  <a:outerShdw blurRad="38100" dist="38100" dir="2700000" algn="tl">
                    <a:srgbClr val="C0C0C0"/>
                  </a:outerShdw>
                </a:effectLst>
              </a:rPr>
              <a:t>Program </a:t>
            </a:r>
          </a:p>
          <a:p>
            <a:pPr eaLnBrk="1" hangingPunct="1">
              <a:lnSpc>
                <a:spcPct val="80000"/>
              </a:lnSpc>
              <a:buFont typeface="Wingdings" panose="05000000000000000000" pitchFamily="2" charset="2"/>
              <a:buChar char="¶"/>
              <a:defRPr/>
            </a:pPr>
            <a:endParaRPr lang="fr-FR" sz="1800" b="1" dirty="0">
              <a:solidFill>
                <a:srgbClr val="000000"/>
              </a:solidFill>
              <a:effectLst>
                <a:outerShdw blurRad="38100" dist="38100" dir="2700000" algn="tl">
                  <a:srgbClr val="C0C0C0"/>
                </a:outerShdw>
              </a:effectLst>
            </a:endParaRPr>
          </a:p>
          <a:p>
            <a:pPr lvl="1" eaLnBrk="1" hangingPunct="1">
              <a:lnSpc>
                <a:spcPct val="80000"/>
              </a:lnSpc>
              <a:buFont typeface="Wingdings" panose="05000000000000000000" pitchFamily="2" charset="2"/>
              <a:buChar char="¶"/>
              <a:defRPr/>
            </a:pPr>
            <a:r>
              <a:rPr lang="fr-FR" b="1" dirty="0">
                <a:solidFill>
                  <a:srgbClr val="000000"/>
                </a:solidFill>
                <a:effectLst>
                  <a:outerShdw blurRad="38100" dist="38100" dir="2700000" algn="tl">
                    <a:srgbClr val="C0C0C0"/>
                  </a:outerShdw>
                </a:effectLst>
              </a:rPr>
              <a:t>14 cars et 500 000 </a:t>
            </a:r>
            <a:r>
              <a:rPr lang="fr-FR" b="1" dirty="0" err="1">
                <a:solidFill>
                  <a:srgbClr val="000000"/>
                </a:solidFill>
                <a:effectLst>
                  <a:outerShdw blurRad="38100" dist="38100" dir="2700000" algn="tl">
                    <a:srgbClr val="C0C0C0"/>
                  </a:outerShdw>
                </a:effectLst>
              </a:rPr>
              <a:t>products</a:t>
            </a:r>
            <a:r>
              <a:rPr lang="fr-FR" b="1" dirty="0">
                <a:solidFill>
                  <a:srgbClr val="000000"/>
                </a:solidFill>
                <a:effectLst>
                  <a:outerShdw blurRad="38100" dist="38100" dir="2700000" algn="tl">
                    <a:srgbClr val="C0C0C0"/>
                  </a:outerShdw>
                </a:effectLst>
              </a:rPr>
              <a:t> for the </a:t>
            </a:r>
            <a:r>
              <a:rPr lang="fr-FR" b="1" dirty="0" err="1">
                <a:solidFill>
                  <a:srgbClr val="000000"/>
                </a:solidFill>
                <a:effectLst>
                  <a:outerShdw blurRad="38100" dist="38100" dir="2700000" algn="tl">
                    <a:srgbClr val="C0C0C0"/>
                  </a:outerShdw>
                </a:effectLst>
              </a:rPr>
              <a:t>spectators</a:t>
            </a:r>
            <a:endParaRPr lang="fr-FR" b="1" dirty="0">
              <a:solidFill>
                <a:srgbClr val="000000"/>
              </a:solidFill>
              <a:effectLst>
                <a:outerShdw blurRad="38100" dist="38100" dir="2700000" algn="tl">
                  <a:srgbClr val="C0C0C0"/>
                </a:outerShdw>
              </a:effectLst>
            </a:endParaRPr>
          </a:p>
          <a:p>
            <a:pPr eaLnBrk="1" hangingPunct="1">
              <a:lnSpc>
                <a:spcPct val="80000"/>
              </a:lnSpc>
              <a:buFont typeface="Wingdings" panose="05000000000000000000" pitchFamily="2" charset="2"/>
              <a:buChar char="¶"/>
              <a:defRPr/>
            </a:pPr>
            <a:endParaRPr lang="fr-FR" sz="1800" b="1" dirty="0">
              <a:solidFill>
                <a:srgbClr val="000000"/>
              </a:solidFill>
              <a:effectLst>
                <a:outerShdw blurRad="38100" dist="38100" dir="2700000" algn="tl">
                  <a:srgbClr val="C0C0C0"/>
                </a:outerShdw>
              </a:effectLst>
            </a:endParaRPr>
          </a:p>
          <a:p>
            <a:pPr lvl="1" eaLnBrk="1" hangingPunct="1">
              <a:lnSpc>
                <a:spcPct val="80000"/>
              </a:lnSpc>
              <a:buFont typeface="Wingdings" panose="05000000000000000000" pitchFamily="2" charset="2"/>
              <a:buChar char="¶"/>
              <a:defRPr/>
            </a:pPr>
            <a:r>
              <a:rPr lang="fr-FR" b="1" dirty="0" err="1">
                <a:solidFill>
                  <a:srgbClr val="000000"/>
                </a:solidFill>
                <a:effectLst>
                  <a:outerShdw blurRad="38100" dist="38100" dir="2700000" algn="tl">
                    <a:srgbClr val="C0C0C0"/>
                  </a:outerShdw>
                </a:effectLst>
              </a:rPr>
              <a:t>Eauficiel</a:t>
            </a:r>
            <a:r>
              <a:rPr lang="fr-FR" b="1" dirty="0">
                <a:solidFill>
                  <a:srgbClr val="000000"/>
                </a:solidFill>
                <a:effectLst>
                  <a:outerShdw blurRad="38100" dist="38100" dir="2700000" algn="tl">
                    <a:srgbClr val="C0C0C0"/>
                  </a:outerShdw>
                </a:effectLst>
              </a:rPr>
              <a:t> : 30 000 for free for </a:t>
            </a:r>
            <a:r>
              <a:rPr lang="fr-FR" b="1" dirty="0" err="1">
                <a:solidFill>
                  <a:srgbClr val="000000"/>
                </a:solidFill>
                <a:effectLst>
                  <a:outerShdw blurRad="38100" dist="38100" dir="2700000" algn="tl">
                    <a:srgbClr val="C0C0C0"/>
                  </a:outerShdw>
                </a:effectLst>
              </a:rPr>
              <a:t>spectators</a:t>
            </a:r>
            <a:endParaRPr lang="fr-FR" b="1" dirty="0">
              <a:solidFill>
                <a:srgbClr val="000000"/>
              </a:solidFill>
              <a:effectLst>
                <a:outerShdw blurRad="38100" dist="38100" dir="2700000" algn="tl">
                  <a:srgbClr val="C0C0C0"/>
                </a:outerShdw>
              </a:effectLst>
            </a:endParaRPr>
          </a:p>
          <a:p>
            <a:pPr lvl="1" eaLnBrk="1" hangingPunct="1">
              <a:lnSpc>
                <a:spcPct val="80000"/>
              </a:lnSpc>
              <a:buFont typeface="Wingdings" panose="05000000000000000000" pitchFamily="2" charset="2"/>
              <a:buChar char="¶"/>
              <a:defRPr/>
            </a:pPr>
            <a:endParaRPr lang="fr-FR" b="1" dirty="0">
              <a:solidFill>
                <a:srgbClr val="000000"/>
              </a:solidFill>
              <a:effectLst>
                <a:outerShdw blurRad="38100" dist="38100" dir="2700000" algn="tl">
                  <a:srgbClr val="C0C0C0"/>
                </a:outerShdw>
              </a:effectLst>
            </a:endParaRPr>
          </a:p>
          <a:p>
            <a:pPr lvl="1">
              <a:lnSpc>
                <a:spcPct val="80000"/>
              </a:lnSpc>
              <a:buFont typeface="Wingdings" panose="05000000000000000000" pitchFamily="2" charset="2"/>
              <a:buChar char="¶"/>
              <a:defRPr/>
            </a:pPr>
            <a:r>
              <a:rPr lang="fr-FR" b="1" dirty="0">
                <a:solidFill>
                  <a:srgbClr val="000000"/>
                </a:solidFill>
                <a:effectLst>
                  <a:outerShdw blurRad="38100" dist="38100" dir="2700000" algn="tl">
                    <a:srgbClr val="C0C0C0"/>
                  </a:outerShdw>
                </a:effectLst>
              </a:rPr>
              <a:t>PR</a:t>
            </a:r>
          </a:p>
          <a:p>
            <a:pPr lvl="1">
              <a:lnSpc>
                <a:spcPct val="80000"/>
              </a:lnSpc>
              <a:buFont typeface="Wingdings" panose="05000000000000000000" pitchFamily="2" charset="2"/>
              <a:buChar char="¶"/>
              <a:defRPr/>
            </a:pPr>
            <a:endParaRPr lang="fr-FR" b="1" dirty="0">
              <a:solidFill>
                <a:srgbClr val="000000"/>
              </a:solidFill>
              <a:effectLst>
                <a:outerShdw blurRad="38100" dist="38100" dir="2700000" algn="tl">
                  <a:srgbClr val="C0C0C0"/>
                </a:outerShdw>
              </a:effectLst>
            </a:endParaRPr>
          </a:p>
          <a:p>
            <a:pPr lvl="1">
              <a:lnSpc>
                <a:spcPct val="80000"/>
              </a:lnSpc>
              <a:buFont typeface="Wingdings" panose="05000000000000000000" pitchFamily="2" charset="2"/>
              <a:buChar char="¶"/>
              <a:defRPr/>
            </a:pPr>
            <a:r>
              <a:rPr lang="fr-FR" b="1" dirty="0">
                <a:solidFill>
                  <a:srgbClr val="000000"/>
                </a:solidFill>
                <a:effectLst>
                  <a:outerShdw blurRad="38100" dist="38100" dir="2700000" algn="tl">
                    <a:srgbClr val="C0C0C0"/>
                  </a:outerShdw>
                </a:effectLst>
              </a:rPr>
              <a:t>Sales activation </a:t>
            </a:r>
            <a:r>
              <a:rPr lang="fr-FR" b="1" dirty="0" err="1">
                <a:solidFill>
                  <a:srgbClr val="000000"/>
                </a:solidFill>
                <a:effectLst>
                  <a:outerShdw blurRad="38100" dist="38100" dir="2700000" algn="tl">
                    <a:srgbClr val="C0C0C0"/>
                  </a:outerShdw>
                </a:effectLst>
              </a:rPr>
              <a:t>with</a:t>
            </a:r>
            <a:r>
              <a:rPr lang="fr-FR" b="1" dirty="0">
                <a:solidFill>
                  <a:srgbClr val="000000"/>
                </a:solidFill>
                <a:effectLst>
                  <a:outerShdw blurRad="38100" dist="38100" dir="2700000" algn="tl">
                    <a:srgbClr val="C0C0C0"/>
                  </a:outerShdw>
                </a:effectLst>
              </a:rPr>
              <a:t> 3 Millions  (Packs TDF)</a:t>
            </a:r>
          </a:p>
          <a:p>
            <a:pPr lvl="1">
              <a:lnSpc>
                <a:spcPct val="80000"/>
              </a:lnSpc>
              <a:buFont typeface="Wingdings" panose="05000000000000000000" pitchFamily="2" charset="2"/>
              <a:buChar char="¶"/>
              <a:defRPr/>
            </a:pPr>
            <a:endParaRPr lang="fr-FR" b="1" dirty="0">
              <a:solidFill>
                <a:srgbClr val="000000"/>
              </a:solidFill>
              <a:effectLst>
                <a:outerShdw blurRad="38100" dist="38100" dir="2700000" algn="tl">
                  <a:srgbClr val="C0C0C0"/>
                </a:outerShdw>
              </a:effectLst>
            </a:endParaRPr>
          </a:p>
          <a:p>
            <a:pPr lvl="1">
              <a:lnSpc>
                <a:spcPct val="80000"/>
              </a:lnSpc>
              <a:buFont typeface="Wingdings" panose="05000000000000000000" pitchFamily="2" charset="2"/>
              <a:buChar char="¶"/>
              <a:defRPr/>
            </a:pPr>
            <a:r>
              <a:rPr lang="fr-FR" b="1" dirty="0">
                <a:solidFill>
                  <a:srgbClr val="000000"/>
                </a:solidFill>
                <a:effectLst>
                  <a:outerShdw blurRad="38100" dist="38100" dir="2700000" algn="tl">
                    <a:srgbClr val="C0C0C0"/>
                  </a:outerShdw>
                </a:effectLst>
              </a:rPr>
              <a:t>Last 25 km  Vittel </a:t>
            </a:r>
            <a:r>
              <a:rPr lang="fr-FR" b="1" dirty="0" err="1">
                <a:solidFill>
                  <a:srgbClr val="000000"/>
                </a:solidFill>
                <a:effectLst>
                  <a:outerShdw blurRad="38100" dist="38100" dir="2700000" algn="tl">
                    <a:srgbClr val="C0C0C0"/>
                  </a:outerShdw>
                </a:effectLst>
              </a:rPr>
              <a:t>Red</a:t>
            </a:r>
            <a:r>
              <a:rPr lang="fr-FR" b="1" dirty="0">
                <a:solidFill>
                  <a:srgbClr val="000000"/>
                </a:solidFill>
                <a:effectLst>
                  <a:outerShdw blurRad="38100" dist="38100" dir="2700000" algn="tl">
                    <a:srgbClr val="C0C0C0"/>
                  </a:outerShdw>
                </a:effectLst>
              </a:rPr>
              <a:t> « arches »</a:t>
            </a:r>
          </a:p>
          <a:p>
            <a:pPr lvl="1" eaLnBrk="1" hangingPunct="1">
              <a:lnSpc>
                <a:spcPct val="80000"/>
              </a:lnSpc>
              <a:buFont typeface="Wingdings" panose="05000000000000000000" pitchFamily="2" charset="2"/>
              <a:buChar char="¶"/>
              <a:defRPr/>
            </a:pPr>
            <a:endParaRPr lang="fr-FR" b="1" dirty="0">
              <a:solidFill>
                <a:srgbClr val="000000"/>
              </a:solidFill>
              <a:effectLst>
                <a:outerShdw blurRad="38100" dist="38100" dir="2700000" algn="tl">
                  <a:srgbClr val="C0C0C0"/>
                </a:outerShdw>
              </a:effectLst>
            </a:endParaRPr>
          </a:p>
          <a:p>
            <a:pPr lvl="1" eaLnBrk="1" hangingPunct="1">
              <a:lnSpc>
                <a:spcPct val="80000"/>
              </a:lnSpc>
              <a:buFont typeface="Wingdings" panose="05000000000000000000" pitchFamily="2" charset="2"/>
              <a:buChar char="¶"/>
              <a:defRPr/>
            </a:pPr>
            <a:r>
              <a:rPr lang="fr-FR" b="1" dirty="0">
                <a:solidFill>
                  <a:srgbClr val="000000"/>
                </a:solidFill>
                <a:effectLst>
                  <a:outerShdw blurRad="38100" dist="38100" dir="2700000" algn="tl">
                    <a:srgbClr val="C0C0C0"/>
                  </a:outerShdw>
                </a:effectLst>
              </a:rPr>
              <a:t>Focus on Vittel </a:t>
            </a:r>
            <a:r>
              <a:rPr lang="fr-FR" b="1" dirty="0" err="1">
                <a:solidFill>
                  <a:srgbClr val="000000"/>
                </a:solidFill>
                <a:effectLst>
                  <a:outerShdw blurRad="38100" dist="38100" dir="2700000" algn="tl">
                    <a:srgbClr val="C0C0C0"/>
                  </a:outerShdw>
                </a:effectLst>
              </a:rPr>
              <a:t>origign</a:t>
            </a:r>
            <a:r>
              <a:rPr lang="fr-FR" b="1" dirty="0">
                <a:solidFill>
                  <a:srgbClr val="000000"/>
                </a:solidFill>
                <a:effectLst>
                  <a:outerShdw blurRad="38100" dist="38100" dir="2700000" algn="tl">
                    <a:srgbClr val="C0C0C0"/>
                  </a:outerShdw>
                </a:effectLst>
              </a:rPr>
              <a:t> (les Vosges) </a:t>
            </a:r>
            <a:r>
              <a:rPr lang="fr-FR" b="1" dirty="0" err="1">
                <a:solidFill>
                  <a:srgbClr val="000000"/>
                </a:solidFill>
                <a:effectLst>
                  <a:outerShdw blurRad="38100" dist="38100" dir="2700000" algn="tl">
                    <a:srgbClr val="C0C0C0"/>
                  </a:outerShdw>
                </a:effectLst>
              </a:rPr>
              <a:t>with</a:t>
            </a:r>
            <a:r>
              <a:rPr lang="fr-FR" b="1" dirty="0">
                <a:solidFill>
                  <a:srgbClr val="000000"/>
                </a:solidFill>
                <a:effectLst>
                  <a:outerShdw blurRad="38100" dist="38100" dir="2700000" algn="tl">
                    <a:srgbClr val="C0C0C0"/>
                  </a:outerShdw>
                </a:effectLst>
              </a:rPr>
              <a:t> the vacation </a:t>
            </a:r>
            <a:r>
              <a:rPr lang="fr-FR" dirty="0">
                <a:effectLst>
                  <a:outerShdw blurRad="38100" dist="38100" dir="2700000" algn="tl">
                    <a:srgbClr val="C0C0C0"/>
                  </a:outerShdw>
                </a:effectLst>
              </a:rPr>
              <a:t> </a:t>
            </a:r>
          </a:p>
        </p:txBody>
      </p:sp>
      <p:pic>
        <p:nvPicPr>
          <p:cNvPr id="48131" name="Picture 6" descr="Vittel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96594" y="192616"/>
            <a:ext cx="252095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0705828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5896" name="Rectangle 165895">
            <a:extLst>
              <a:ext uri="{FF2B5EF4-FFF2-40B4-BE49-F238E27FC236}">
                <a16:creationId xmlns:a16="http://schemas.microsoft.com/office/drawing/2014/main" id="{22587ECF-85E9-4393-9D87-8EB6F3F6C2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891" name="Rectangle 3"/>
          <p:cNvSpPr>
            <a:spLocks noGrp="1" noChangeArrowheads="1"/>
          </p:cNvSpPr>
          <p:nvPr>
            <p:ph idx="1"/>
          </p:nvPr>
        </p:nvSpPr>
        <p:spPr>
          <a:xfrm>
            <a:off x="838199" y="2686323"/>
            <a:ext cx="4783697" cy="3433583"/>
          </a:xfrm>
        </p:spPr>
        <p:txBody>
          <a:bodyPr>
            <a:normAutofit/>
          </a:bodyPr>
          <a:lstStyle/>
          <a:p>
            <a:pPr eaLnBrk="1" hangingPunct="1">
              <a:buSzTx/>
              <a:buFont typeface="Wingdings" panose="05000000000000000000" pitchFamily="2" charset="2"/>
              <a:buChar char="¶"/>
              <a:defRPr/>
            </a:pPr>
            <a:r>
              <a:rPr lang="fr-FR" sz="1400">
                <a:effectLst>
                  <a:outerShdw blurRad="38100" dist="38100" dir="2700000" algn="tl">
                    <a:srgbClr val="C0C0C0"/>
                  </a:outerShdw>
                </a:effectLst>
              </a:rPr>
              <a:t>Antoine Willaume (Communication &amp; Marketing Director Antargaz) : « Our customers are in rural areas. TDF is a perfect way to meet them ». </a:t>
            </a:r>
          </a:p>
          <a:p>
            <a:pPr eaLnBrk="1" hangingPunct="1">
              <a:buSzTx/>
              <a:buFont typeface="Wingdings" panose="05000000000000000000" pitchFamily="2" charset="2"/>
              <a:buChar char="¶"/>
              <a:defRPr/>
            </a:pPr>
            <a:r>
              <a:rPr lang="fr-FR" sz="1400">
                <a:effectLst>
                  <a:outerShdw blurRad="38100" dist="38100" dir="2700000" algn="tl">
                    <a:srgbClr val="C0C0C0"/>
                  </a:outerShdw>
                </a:effectLst>
              </a:rPr>
              <a:t>Program : Village, caravane, inter-station &amp; VIP </a:t>
            </a:r>
          </a:p>
          <a:p>
            <a:pPr lvl="1" eaLnBrk="1" hangingPunct="1">
              <a:buSzTx/>
              <a:buFont typeface="Wingdings" panose="05000000000000000000" pitchFamily="2" charset="2"/>
              <a:buChar char="¶"/>
              <a:defRPr/>
            </a:pPr>
            <a:endParaRPr lang="fr-FR" sz="1400">
              <a:effectLst>
                <a:outerShdw blurRad="38100" dist="38100" dir="2700000" algn="tl">
                  <a:srgbClr val="C0C0C0"/>
                </a:outerShdw>
              </a:effectLst>
            </a:endParaRPr>
          </a:p>
          <a:p>
            <a:pPr lvl="1" eaLnBrk="1" hangingPunct="1">
              <a:buSzTx/>
              <a:buFont typeface="Wingdings" panose="05000000000000000000" pitchFamily="2" charset="2"/>
              <a:buChar char="¶"/>
              <a:defRPr/>
            </a:pPr>
            <a:r>
              <a:rPr lang="fr-FR" sz="1400">
                <a:effectLst>
                  <a:outerShdw blurRad="38100" dist="38100" dir="2700000" algn="tl">
                    <a:srgbClr val="C0C0C0"/>
                  </a:outerShdw>
                </a:effectLst>
              </a:rPr>
              <a:t>PR &amp; Hospitality inter-station  50 Km from the arrival (exclusivity : 200 m²)</a:t>
            </a:r>
          </a:p>
          <a:p>
            <a:pPr lvl="1" eaLnBrk="1" hangingPunct="1">
              <a:buSzTx/>
              <a:buFont typeface="Wingdings" panose="05000000000000000000" pitchFamily="2" charset="2"/>
              <a:buChar char="¶"/>
              <a:defRPr/>
            </a:pPr>
            <a:endParaRPr lang="fr-FR" sz="1400">
              <a:effectLst>
                <a:outerShdw blurRad="38100" dist="38100" dir="2700000" algn="tl">
                  <a:srgbClr val="C0C0C0"/>
                </a:outerShdw>
              </a:effectLst>
            </a:endParaRPr>
          </a:p>
          <a:p>
            <a:pPr lvl="1" eaLnBrk="1" hangingPunct="1">
              <a:buSzTx/>
              <a:buFont typeface="Wingdings" panose="05000000000000000000" pitchFamily="2" charset="2"/>
              <a:buChar char="¶"/>
              <a:defRPr/>
            </a:pPr>
            <a:r>
              <a:rPr lang="fr-FR" sz="1400">
                <a:effectLst>
                  <a:outerShdw blurRad="38100" dist="38100" dir="2700000" algn="tl">
                    <a:srgbClr val="C0C0C0"/>
                  </a:outerShdw>
                </a:effectLst>
              </a:rPr>
              <a:t>Trophy « Flamme Gaz Naturel » with the Major of the City</a:t>
            </a:r>
          </a:p>
          <a:p>
            <a:pPr lvl="1" eaLnBrk="1" hangingPunct="1">
              <a:buSzTx/>
              <a:buFont typeface="Wingdings" panose="05000000000000000000" pitchFamily="2" charset="2"/>
              <a:buChar char="¶"/>
              <a:defRPr/>
            </a:pPr>
            <a:endParaRPr lang="fr-FR" sz="1400">
              <a:effectLst>
                <a:outerShdw blurRad="38100" dist="38100" dir="2700000" algn="tl">
                  <a:srgbClr val="C0C0C0"/>
                </a:outerShdw>
              </a:effectLst>
            </a:endParaRPr>
          </a:p>
          <a:p>
            <a:pPr lvl="1" eaLnBrk="1" hangingPunct="1">
              <a:buSzTx/>
              <a:buFont typeface="Wingdings" panose="05000000000000000000" pitchFamily="2" charset="2"/>
              <a:buChar char="¶"/>
              <a:defRPr/>
            </a:pPr>
            <a:r>
              <a:rPr lang="fr-FR" sz="1400">
                <a:effectLst>
                  <a:outerShdw blurRad="38100" dist="38100" dir="2700000" algn="tl">
                    <a:srgbClr val="C0C0C0"/>
                  </a:outerShdw>
                </a:effectLst>
              </a:rPr>
              <a:t>Mascot</a:t>
            </a:r>
          </a:p>
          <a:p>
            <a:pPr lvl="1" eaLnBrk="1" hangingPunct="1">
              <a:buSzTx/>
              <a:buFont typeface="Wingdings" panose="05000000000000000000" pitchFamily="2" charset="2"/>
              <a:buChar char="¶"/>
              <a:defRPr/>
            </a:pPr>
            <a:endParaRPr lang="fr-FR" sz="1400">
              <a:effectLst>
                <a:outerShdw blurRad="38100" dist="38100" dir="2700000" algn="tl">
                  <a:srgbClr val="C0C0C0"/>
                </a:outerShdw>
              </a:effectLst>
            </a:endParaRPr>
          </a:p>
          <a:p>
            <a:pPr lvl="1" eaLnBrk="1" hangingPunct="1">
              <a:buSzTx/>
              <a:buFont typeface="Wingdings" panose="05000000000000000000" pitchFamily="2" charset="2"/>
              <a:buChar char="¶"/>
              <a:defRPr/>
            </a:pPr>
            <a:r>
              <a:rPr lang="fr-FR" sz="1400">
                <a:effectLst>
                  <a:outerShdw blurRad="38100" dist="38100" dir="2700000" algn="tl">
                    <a:srgbClr val="C0C0C0"/>
                  </a:outerShdw>
                </a:effectLst>
              </a:rPr>
              <a:t>200 000 Tap tap &amp; 250 000 magnets</a:t>
            </a:r>
          </a:p>
          <a:p>
            <a:pPr eaLnBrk="1" hangingPunct="1">
              <a:defRPr/>
            </a:pPr>
            <a:endParaRPr lang="fr-FR" sz="1400">
              <a:effectLst>
                <a:outerShdw blurRad="38100" dist="38100" dir="2700000" algn="tl">
                  <a:srgbClr val="C0C0C0"/>
                </a:outerShdw>
              </a:effectLst>
            </a:endParaRPr>
          </a:p>
        </p:txBody>
      </p:sp>
      <p:pic>
        <p:nvPicPr>
          <p:cNvPr id="49155" name="Picture 6" descr="Antargaz"/>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988424" y="2356419"/>
            <a:ext cx="5365375" cy="194494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7826447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8968" name="Rectangle 168967">
            <a:extLst>
              <a:ext uri="{FF2B5EF4-FFF2-40B4-BE49-F238E27FC236}">
                <a16:creationId xmlns:a16="http://schemas.microsoft.com/office/drawing/2014/main" id="{743AA782-23D1-4521-8CAD-47662984AA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970" name="sketch line">
            <a:extLst>
              <a:ext uri="{FF2B5EF4-FFF2-40B4-BE49-F238E27FC236}">
                <a16:creationId xmlns:a16="http://schemas.microsoft.com/office/drawing/2014/main" id="{71877DBC-BB60-40F0-AC93-2ACDBAAE60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372868"/>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963" name="Rectangle 3"/>
          <p:cNvSpPr>
            <a:spLocks noGrp="1" noChangeArrowheads="1"/>
          </p:cNvSpPr>
          <p:nvPr>
            <p:ph idx="1"/>
          </p:nvPr>
        </p:nvSpPr>
        <p:spPr>
          <a:xfrm>
            <a:off x="630936" y="2660904"/>
            <a:ext cx="4818888" cy="3547872"/>
          </a:xfrm>
        </p:spPr>
        <p:txBody>
          <a:bodyPr anchor="t">
            <a:normAutofit/>
          </a:bodyPr>
          <a:lstStyle/>
          <a:p>
            <a:pPr eaLnBrk="1" hangingPunct="1">
              <a:defRPr/>
            </a:pPr>
            <a:r>
              <a:rPr lang="fr-FR" sz="1200" b="1">
                <a:effectLst>
                  <a:outerShdw blurRad="38100" dist="38100" dir="2700000" algn="tl">
                    <a:srgbClr val="C0C0C0"/>
                  </a:outerShdw>
                </a:effectLst>
              </a:rPr>
              <a:t>Eric Marchyllie (Sponsoring Director Carrefour) : « Our partnership with TDF and the soccer is focused on proximity. We want to promote our product and our diffrence with our quality made in France and explain our positionning ».</a:t>
            </a:r>
          </a:p>
          <a:p>
            <a:pPr eaLnBrk="1" hangingPunct="1">
              <a:defRPr/>
            </a:pPr>
            <a:endParaRPr lang="fr-FR" sz="1200" b="1">
              <a:effectLst>
                <a:outerShdw blurRad="38100" dist="38100" dir="2700000" algn="tl">
                  <a:srgbClr val="C0C0C0"/>
                </a:outerShdw>
              </a:effectLst>
            </a:endParaRPr>
          </a:p>
          <a:p>
            <a:pPr eaLnBrk="1" hangingPunct="1">
              <a:defRPr/>
            </a:pPr>
            <a:r>
              <a:rPr lang="fr-FR" sz="1200" b="1">
                <a:effectLst>
                  <a:outerShdw blurRad="38100" dist="38100" dir="2700000" algn="tl">
                    <a:srgbClr val="C0C0C0"/>
                  </a:outerShdw>
                </a:effectLst>
              </a:rPr>
              <a:t>Actions  :</a:t>
            </a:r>
          </a:p>
          <a:p>
            <a:pPr eaLnBrk="1" hangingPunct="1">
              <a:defRPr/>
            </a:pPr>
            <a:endParaRPr lang="fr-FR" sz="1200" b="1">
              <a:effectLst>
                <a:outerShdw blurRad="38100" dist="38100" dir="2700000" algn="tl">
                  <a:srgbClr val="C0C0C0"/>
                </a:outerShdw>
              </a:effectLst>
            </a:endParaRPr>
          </a:p>
          <a:p>
            <a:pPr lvl="1" eaLnBrk="1" hangingPunct="1">
              <a:defRPr/>
            </a:pPr>
            <a:r>
              <a:rPr lang="fr-FR" sz="1200" b="1">
                <a:effectLst>
                  <a:outerShdw blurRad="38100" dist="38100" dir="2700000" algn="tl">
                    <a:srgbClr val="C0C0C0"/>
                  </a:outerShdw>
                </a:effectLst>
              </a:rPr>
              <a:t>Games in shops</a:t>
            </a:r>
          </a:p>
          <a:p>
            <a:pPr lvl="1" eaLnBrk="1" hangingPunct="1">
              <a:defRPr/>
            </a:pPr>
            <a:endParaRPr lang="fr-FR" sz="1200" b="1">
              <a:effectLst>
                <a:outerShdw blurRad="38100" dist="38100" dir="2700000" algn="tl">
                  <a:srgbClr val="C0C0C0"/>
                </a:outerShdw>
              </a:effectLst>
            </a:endParaRPr>
          </a:p>
          <a:p>
            <a:pPr lvl="1" eaLnBrk="1" hangingPunct="1">
              <a:defRPr/>
            </a:pPr>
            <a:r>
              <a:rPr lang="fr-FR" sz="1200" b="1">
                <a:effectLst>
                  <a:outerShdw blurRad="38100" dist="38100" dir="2700000" algn="tl">
                    <a:srgbClr val="C0C0C0"/>
                  </a:outerShdw>
                </a:effectLst>
              </a:rPr>
              <a:t>Website : C-letour.fr with practicers and fans </a:t>
            </a:r>
          </a:p>
          <a:p>
            <a:pPr eaLnBrk="1" hangingPunct="1">
              <a:defRPr/>
            </a:pPr>
            <a:endParaRPr lang="fr-FR" sz="1200" b="1">
              <a:effectLst>
                <a:outerShdw blurRad="38100" dist="38100" dir="2700000" algn="tl">
                  <a:srgbClr val="C0C0C0"/>
                </a:outerShdw>
              </a:effectLst>
            </a:endParaRPr>
          </a:p>
          <a:p>
            <a:pPr lvl="1" eaLnBrk="1" hangingPunct="1">
              <a:defRPr/>
            </a:pPr>
            <a:r>
              <a:rPr lang="fr-FR" sz="1200" b="1">
                <a:effectLst>
                  <a:outerShdw blurRad="38100" dist="38100" dir="2700000" algn="tl">
                    <a:srgbClr val="C0C0C0"/>
                  </a:outerShdw>
                </a:effectLst>
              </a:rPr>
              <a:t>Cars &amp; Caravane</a:t>
            </a:r>
          </a:p>
          <a:p>
            <a:pPr eaLnBrk="1" hangingPunct="1">
              <a:defRPr/>
            </a:pPr>
            <a:endParaRPr lang="fr-FR" sz="1200" b="1">
              <a:effectLst>
                <a:outerShdw blurRad="38100" dist="38100" dir="2700000" algn="tl">
                  <a:srgbClr val="C0C0C0"/>
                </a:outerShdw>
              </a:effectLst>
            </a:endParaRPr>
          </a:p>
          <a:p>
            <a:pPr lvl="1" eaLnBrk="1" hangingPunct="1">
              <a:defRPr/>
            </a:pPr>
            <a:r>
              <a:rPr lang="fr-FR" sz="1200" b="1">
                <a:effectLst>
                  <a:outerShdw blurRad="38100" dist="38100" dir="2700000" algn="tl">
                    <a:srgbClr val="C0C0C0"/>
                  </a:outerShdw>
                </a:effectLst>
              </a:rPr>
              <a:t>Jersey for the best climber</a:t>
            </a:r>
            <a:endParaRPr lang="fr-FR" sz="1200">
              <a:effectLst>
                <a:outerShdw blurRad="38100" dist="38100" dir="2700000" algn="tl">
                  <a:srgbClr val="C0C0C0"/>
                </a:outerShdw>
              </a:effectLst>
            </a:endParaRPr>
          </a:p>
          <a:p>
            <a:pPr eaLnBrk="1" hangingPunct="1">
              <a:defRPr/>
            </a:pPr>
            <a:endParaRPr lang="fr-FR" sz="1200">
              <a:effectLst>
                <a:outerShdw blurRad="38100" dist="38100" dir="2700000" algn="tl">
                  <a:srgbClr val="C0C0C0"/>
                </a:outerShdw>
              </a:effectLst>
            </a:endParaRPr>
          </a:p>
        </p:txBody>
      </p:sp>
      <p:pic>
        <p:nvPicPr>
          <p:cNvPr id="50179" name="Picture 5" descr="carrefour1"/>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099048" y="1312134"/>
            <a:ext cx="5458968" cy="423373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911063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8495" name="Rectangle 148494">
            <a:extLst>
              <a:ext uri="{FF2B5EF4-FFF2-40B4-BE49-F238E27FC236}">
                <a16:creationId xmlns:a16="http://schemas.microsoft.com/office/drawing/2014/main" id="{1A9F7B4E-B03D-4F64-BE33-00D074458D4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482" name="Rectangle 2"/>
          <p:cNvSpPr>
            <a:spLocks noGrp="1" noChangeArrowheads="1"/>
          </p:cNvSpPr>
          <p:nvPr>
            <p:ph type="title"/>
          </p:nvPr>
        </p:nvSpPr>
        <p:spPr>
          <a:xfrm>
            <a:off x="838200" y="365125"/>
            <a:ext cx="10515600" cy="1325563"/>
          </a:xfrm>
        </p:spPr>
        <p:txBody>
          <a:bodyPr>
            <a:normAutofit/>
          </a:bodyPr>
          <a:lstStyle/>
          <a:p>
            <a:pPr eaLnBrk="1" hangingPunct="1">
              <a:defRPr/>
            </a:pPr>
            <a:r>
              <a:rPr lang="fr-FR" sz="4600" b="1">
                <a:solidFill>
                  <a:srgbClr val="FFFFFF"/>
                </a:solidFill>
              </a:rPr>
              <a:t>Key points to analyse your future sponsor</a:t>
            </a:r>
          </a:p>
        </p:txBody>
      </p:sp>
      <p:sp>
        <p:nvSpPr>
          <p:cNvPr id="148497" name="sketchy line">
            <a:extLst>
              <a:ext uri="{FF2B5EF4-FFF2-40B4-BE49-F238E27FC236}">
                <a16:creationId xmlns:a16="http://schemas.microsoft.com/office/drawing/2014/main" id="{7E2BE7F7-CA89-4002-ACCE-A478AEA24F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14399" y="1681544"/>
            <a:ext cx="9692640" cy="18288"/>
          </a:xfrm>
          <a:custGeom>
            <a:avLst/>
            <a:gdLst>
              <a:gd name="connsiteX0" fmla="*/ 0 w 9692640"/>
              <a:gd name="connsiteY0" fmla="*/ 0 h 18288"/>
              <a:gd name="connsiteX1" fmla="*/ 401552 w 9692640"/>
              <a:gd name="connsiteY1" fmla="*/ 0 h 18288"/>
              <a:gd name="connsiteX2" fmla="*/ 996957 w 9692640"/>
              <a:gd name="connsiteY2" fmla="*/ 0 h 18288"/>
              <a:gd name="connsiteX3" fmla="*/ 1398509 w 9692640"/>
              <a:gd name="connsiteY3" fmla="*/ 0 h 18288"/>
              <a:gd name="connsiteX4" fmla="*/ 2090841 w 9692640"/>
              <a:gd name="connsiteY4" fmla="*/ 0 h 18288"/>
              <a:gd name="connsiteX5" fmla="*/ 2686246 w 9692640"/>
              <a:gd name="connsiteY5" fmla="*/ 0 h 18288"/>
              <a:gd name="connsiteX6" fmla="*/ 3475504 w 9692640"/>
              <a:gd name="connsiteY6" fmla="*/ 0 h 18288"/>
              <a:gd name="connsiteX7" fmla="*/ 4361688 w 9692640"/>
              <a:gd name="connsiteY7" fmla="*/ 0 h 18288"/>
              <a:gd name="connsiteX8" fmla="*/ 5054019 w 9692640"/>
              <a:gd name="connsiteY8" fmla="*/ 0 h 18288"/>
              <a:gd name="connsiteX9" fmla="*/ 5940204 w 9692640"/>
              <a:gd name="connsiteY9" fmla="*/ 0 h 18288"/>
              <a:gd name="connsiteX10" fmla="*/ 6632535 w 9692640"/>
              <a:gd name="connsiteY10" fmla="*/ 0 h 18288"/>
              <a:gd name="connsiteX11" fmla="*/ 7034087 w 9692640"/>
              <a:gd name="connsiteY11" fmla="*/ 0 h 18288"/>
              <a:gd name="connsiteX12" fmla="*/ 7532566 w 9692640"/>
              <a:gd name="connsiteY12" fmla="*/ 0 h 18288"/>
              <a:gd name="connsiteX13" fmla="*/ 8418750 w 9692640"/>
              <a:gd name="connsiteY13" fmla="*/ 0 h 18288"/>
              <a:gd name="connsiteX14" fmla="*/ 9692640 w 9692640"/>
              <a:gd name="connsiteY14" fmla="*/ 0 h 18288"/>
              <a:gd name="connsiteX15" fmla="*/ 9692640 w 9692640"/>
              <a:gd name="connsiteY15" fmla="*/ 18288 h 18288"/>
              <a:gd name="connsiteX16" fmla="*/ 9000309 w 9692640"/>
              <a:gd name="connsiteY16" fmla="*/ 18288 h 18288"/>
              <a:gd name="connsiteX17" fmla="*/ 8307977 w 9692640"/>
              <a:gd name="connsiteY17" fmla="*/ 18288 h 18288"/>
              <a:gd name="connsiteX18" fmla="*/ 7712572 w 9692640"/>
              <a:gd name="connsiteY18" fmla="*/ 18288 h 18288"/>
              <a:gd name="connsiteX19" fmla="*/ 7214093 w 9692640"/>
              <a:gd name="connsiteY19" fmla="*/ 18288 h 18288"/>
              <a:gd name="connsiteX20" fmla="*/ 6327909 w 9692640"/>
              <a:gd name="connsiteY20" fmla="*/ 18288 h 18288"/>
              <a:gd name="connsiteX21" fmla="*/ 5635578 w 9692640"/>
              <a:gd name="connsiteY21" fmla="*/ 18288 h 18288"/>
              <a:gd name="connsiteX22" fmla="*/ 4846320 w 9692640"/>
              <a:gd name="connsiteY22" fmla="*/ 18288 h 18288"/>
              <a:gd name="connsiteX23" fmla="*/ 4444768 w 9692640"/>
              <a:gd name="connsiteY23" fmla="*/ 18288 h 18288"/>
              <a:gd name="connsiteX24" fmla="*/ 3946289 w 9692640"/>
              <a:gd name="connsiteY24" fmla="*/ 18288 h 18288"/>
              <a:gd name="connsiteX25" fmla="*/ 3253958 w 9692640"/>
              <a:gd name="connsiteY25" fmla="*/ 18288 h 18288"/>
              <a:gd name="connsiteX26" fmla="*/ 2464700 w 9692640"/>
              <a:gd name="connsiteY26" fmla="*/ 18288 h 18288"/>
              <a:gd name="connsiteX27" fmla="*/ 2063148 w 9692640"/>
              <a:gd name="connsiteY27" fmla="*/ 18288 h 18288"/>
              <a:gd name="connsiteX28" fmla="*/ 1661595 w 9692640"/>
              <a:gd name="connsiteY28" fmla="*/ 18288 h 18288"/>
              <a:gd name="connsiteX29" fmla="*/ 969264 w 9692640"/>
              <a:gd name="connsiteY29" fmla="*/ 18288 h 18288"/>
              <a:gd name="connsiteX30" fmla="*/ 0 w 9692640"/>
              <a:gd name="connsiteY30" fmla="*/ 18288 h 18288"/>
              <a:gd name="connsiteX31" fmla="*/ 0 w 9692640"/>
              <a:gd name="connsiteY3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692640" h="18288" fill="none" extrusionOk="0">
                <a:moveTo>
                  <a:pt x="0" y="0"/>
                </a:moveTo>
                <a:cubicBezTo>
                  <a:pt x="142992" y="4732"/>
                  <a:pt x="265909" y="-3365"/>
                  <a:pt x="401552" y="0"/>
                </a:cubicBezTo>
                <a:cubicBezTo>
                  <a:pt x="537195" y="3365"/>
                  <a:pt x="738153" y="6482"/>
                  <a:pt x="996957" y="0"/>
                </a:cubicBezTo>
                <a:cubicBezTo>
                  <a:pt x="1255762" y="-6482"/>
                  <a:pt x="1280511" y="12509"/>
                  <a:pt x="1398509" y="0"/>
                </a:cubicBezTo>
                <a:cubicBezTo>
                  <a:pt x="1516507" y="-12509"/>
                  <a:pt x="1782573" y="-31523"/>
                  <a:pt x="2090841" y="0"/>
                </a:cubicBezTo>
                <a:cubicBezTo>
                  <a:pt x="2399109" y="31523"/>
                  <a:pt x="2488380" y="26286"/>
                  <a:pt x="2686246" y="0"/>
                </a:cubicBezTo>
                <a:cubicBezTo>
                  <a:pt x="2884112" y="-26286"/>
                  <a:pt x="3186024" y="-14734"/>
                  <a:pt x="3475504" y="0"/>
                </a:cubicBezTo>
                <a:cubicBezTo>
                  <a:pt x="3764984" y="14734"/>
                  <a:pt x="4053017" y="43292"/>
                  <a:pt x="4361688" y="0"/>
                </a:cubicBezTo>
                <a:cubicBezTo>
                  <a:pt x="4670359" y="-43292"/>
                  <a:pt x="4736164" y="-729"/>
                  <a:pt x="5054019" y="0"/>
                </a:cubicBezTo>
                <a:cubicBezTo>
                  <a:pt x="5371874" y="729"/>
                  <a:pt x="5543528" y="-22963"/>
                  <a:pt x="5940204" y="0"/>
                </a:cubicBezTo>
                <a:cubicBezTo>
                  <a:pt x="6336881" y="22963"/>
                  <a:pt x="6423838" y="6469"/>
                  <a:pt x="6632535" y="0"/>
                </a:cubicBezTo>
                <a:cubicBezTo>
                  <a:pt x="6841232" y="-6469"/>
                  <a:pt x="6852819" y="17036"/>
                  <a:pt x="7034087" y="0"/>
                </a:cubicBezTo>
                <a:cubicBezTo>
                  <a:pt x="7215355" y="-17036"/>
                  <a:pt x="7313136" y="11151"/>
                  <a:pt x="7532566" y="0"/>
                </a:cubicBezTo>
                <a:cubicBezTo>
                  <a:pt x="7751996" y="-11151"/>
                  <a:pt x="8015001" y="25614"/>
                  <a:pt x="8418750" y="0"/>
                </a:cubicBezTo>
                <a:cubicBezTo>
                  <a:pt x="8822499" y="-25614"/>
                  <a:pt x="9163239" y="48603"/>
                  <a:pt x="9692640" y="0"/>
                </a:cubicBezTo>
                <a:cubicBezTo>
                  <a:pt x="9691955" y="4437"/>
                  <a:pt x="9693170" y="10717"/>
                  <a:pt x="9692640" y="18288"/>
                </a:cubicBezTo>
                <a:cubicBezTo>
                  <a:pt x="9545125" y="42172"/>
                  <a:pt x="9164259" y="6706"/>
                  <a:pt x="9000309" y="18288"/>
                </a:cubicBezTo>
                <a:cubicBezTo>
                  <a:pt x="8836359" y="29870"/>
                  <a:pt x="8521035" y="-14108"/>
                  <a:pt x="8307977" y="18288"/>
                </a:cubicBezTo>
                <a:cubicBezTo>
                  <a:pt x="8094919" y="50684"/>
                  <a:pt x="7881757" y="11235"/>
                  <a:pt x="7712572" y="18288"/>
                </a:cubicBezTo>
                <a:cubicBezTo>
                  <a:pt x="7543387" y="25341"/>
                  <a:pt x="7358861" y="20625"/>
                  <a:pt x="7214093" y="18288"/>
                </a:cubicBezTo>
                <a:cubicBezTo>
                  <a:pt x="7069325" y="15951"/>
                  <a:pt x="6523705" y="52160"/>
                  <a:pt x="6327909" y="18288"/>
                </a:cubicBezTo>
                <a:cubicBezTo>
                  <a:pt x="6132113" y="-15584"/>
                  <a:pt x="5923847" y="21204"/>
                  <a:pt x="5635578" y="18288"/>
                </a:cubicBezTo>
                <a:cubicBezTo>
                  <a:pt x="5347309" y="15372"/>
                  <a:pt x="5114749" y="50642"/>
                  <a:pt x="4846320" y="18288"/>
                </a:cubicBezTo>
                <a:cubicBezTo>
                  <a:pt x="4577891" y="-14066"/>
                  <a:pt x="4576701" y="1487"/>
                  <a:pt x="4444768" y="18288"/>
                </a:cubicBezTo>
                <a:cubicBezTo>
                  <a:pt x="4312835" y="35089"/>
                  <a:pt x="4112575" y="15158"/>
                  <a:pt x="3946289" y="18288"/>
                </a:cubicBezTo>
                <a:cubicBezTo>
                  <a:pt x="3780003" y="21418"/>
                  <a:pt x="3396009" y="18797"/>
                  <a:pt x="3253958" y="18288"/>
                </a:cubicBezTo>
                <a:cubicBezTo>
                  <a:pt x="3111907" y="17779"/>
                  <a:pt x="2760272" y="57223"/>
                  <a:pt x="2464700" y="18288"/>
                </a:cubicBezTo>
                <a:cubicBezTo>
                  <a:pt x="2169128" y="-20647"/>
                  <a:pt x="2232262" y="7960"/>
                  <a:pt x="2063148" y="18288"/>
                </a:cubicBezTo>
                <a:cubicBezTo>
                  <a:pt x="1894034" y="28616"/>
                  <a:pt x="1799338" y="3019"/>
                  <a:pt x="1661595" y="18288"/>
                </a:cubicBezTo>
                <a:cubicBezTo>
                  <a:pt x="1523852" y="33557"/>
                  <a:pt x="1113928" y="-4352"/>
                  <a:pt x="969264" y="18288"/>
                </a:cubicBezTo>
                <a:cubicBezTo>
                  <a:pt x="824600" y="40928"/>
                  <a:pt x="356149" y="-3128"/>
                  <a:pt x="0" y="18288"/>
                </a:cubicBezTo>
                <a:cubicBezTo>
                  <a:pt x="-540" y="12521"/>
                  <a:pt x="894" y="7749"/>
                  <a:pt x="0" y="0"/>
                </a:cubicBezTo>
                <a:close/>
              </a:path>
              <a:path w="9692640" h="18288" stroke="0" extrusionOk="0">
                <a:moveTo>
                  <a:pt x="0" y="0"/>
                </a:moveTo>
                <a:cubicBezTo>
                  <a:pt x="162642" y="3864"/>
                  <a:pt x="346119" y="-18364"/>
                  <a:pt x="498479" y="0"/>
                </a:cubicBezTo>
                <a:cubicBezTo>
                  <a:pt x="650839" y="18364"/>
                  <a:pt x="712065" y="-9389"/>
                  <a:pt x="900031" y="0"/>
                </a:cubicBezTo>
                <a:cubicBezTo>
                  <a:pt x="1087997" y="9389"/>
                  <a:pt x="1177291" y="3685"/>
                  <a:pt x="1398509" y="0"/>
                </a:cubicBezTo>
                <a:cubicBezTo>
                  <a:pt x="1619727" y="-3685"/>
                  <a:pt x="1874008" y="-8897"/>
                  <a:pt x="2090841" y="0"/>
                </a:cubicBezTo>
                <a:cubicBezTo>
                  <a:pt x="2307674" y="8897"/>
                  <a:pt x="2573432" y="-313"/>
                  <a:pt x="2880099" y="0"/>
                </a:cubicBezTo>
                <a:cubicBezTo>
                  <a:pt x="3186766" y="313"/>
                  <a:pt x="3422577" y="10664"/>
                  <a:pt x="3766283" y="0"/>
                </a:cubicBezTo>
                <a:cubicBezTo>
                  <a:pt x="4109989" y="-10664"/>
                  <a:pt x="4342683" y="-32873"/>
                  <a:pt x="4652467" y="0"/>
                </a:cubicBezTo>
                <a:cubicBezTo>
                  <a:pt x="4962251" y="32873"/>
                  <a:pt x="5122120" y="29155"/>
                  <a:pt x="5247872" y="0"/>
                </a:cubicBezTo>
                <a:cubicBezTo>
                  <a:pt x="5373625" y="-29155"/>
                  <a:pt x="5749491" y="1706"/>
                  <a:pt x="6037130" y="0"/>
                </a:cubicBezTo>
                <a:cubicBezTo>
                  <a:pt x="6324769" y="-1706"/>
                  <a:pt x="6531407" y="1172"/>
                  <a:pt x="6729461" y="0"/>
                </a:cubicBezTo>
                <a:cubicBezTo>
                  <a:pt x="6927515" y="-1172"/>
                  <a:pt x="7096794" y="-1520"/>
                  <a:pt x="7324867" y="0"/>
                </a:cubicBezTo>
                <a:cubicBezTo>
                  <a:pt x="7552940" y="1520"/>
                  <a:pt x="7878827" y="-17110"/>
                  <a:pt x="8114124" y="0"/>
                </a:cubicBezTo>
                <a:cubicBezTo>
                  <a:pt x="8349421" y="17110"/>
                  <a:pt x="8334208" y="15114"/>
                  <a:pt x="8515677" y="0"/>
                </a:cubicBezTo>
                <a:cubicBezTo>
                  <a:pt x="8697146" y="-15114"/>
                  <a:pt x="9236164" y="22466"/>
                  <a:pt x="9692640" y="0"/>
                </a:cubicBezTo>
                <a:cubicBezTo>
                  <a:pt x="9692735" y="8251"/>
                  <a:pt x="9692514" y="12333"/>
                  <a:pt x="9692640" y="18288"/>
                </a:cubicBezTo>
                <a:cubicBezTo>
                  <a:pt x="9410102" y="47398"/>
                  <a:pt x="9172773" y="7109"/>
                  <a:pt x="9000309" y="18288"/>
                </a:cubicBezTo>
                <a:cubicBezTo>
                  <a:pt x="8827845" y="29467"/>
                  <a:pt x="8713608" y="28372"/>
                  <a:pt x="8501830" y="18288"/>
                </a:cubicBezTo>
                <a:cubicBezTo>
                  <a:pt x="8290052" y="8204"/>
                  <a:pt x="7893416" y="3561"/>
                  <a:pt x="7712572" y="18288"/>
                </a:cubicBezTo>
                <a:cubicBezTo>
                  <a:pt x="7531728" y="33015"/>
                  <a:pt x="7480716" y="17052"/>
                  <a:pt x="7311020" y="18288"/>
                </a:cubicBezTo>
                <a:cubicBezTo>
                  <a:pt x="7141324" y="19524"/>
                  <a:pt x="6962706" y="15975"/>
                  <a:pt x="6618688" y="18288"/>
                </a:cubicBezTo>
                <a:cubicBezTo>
                  <a:pt x="6274670" y="20601"/>
                  <a:pt x="6230664" y="-1692"/>
                  <a:pt x="6120210" y="18288"/>
                </a:cubicBezTo>
                <a:cubicBezTo>
                  <a:pt x="6009756" y="38268"/>
                  <a:pt x="5442516" y="28115"/>
                  <a:pt x="5234026" y="18288"/>
                </a:cubicBezTo>
                <a:cubicBezTo>
                  <a:pt x="5025536" y="8461"/>
                  <a:pt x="4953693" y="18182"/>
                  <a:pt x="4832473" y="18288"/>
                </a:cubicBezTo>
                <a:cubicBezTo>
                  <a:pt x="4711253" y="18394"/>
                  <a:pt x="4414565" y="-11251"/>
                  <a:pt x="4140142" y="18288"/>
                </a:cubicBezTo>
                <a:cubicBezTo>
                  <a:pt x="3865719" y="47827"/>
                  <a:pt x="3819081" y="16772"/>
                  <a:pt x="3738590" y="18288"/>
                </a:cubicBezTo>
                <a:cubicBezTo>
                  <a:pt x="3658099" y="19804"/>
                  <a:pt x="3427576" y="1385"/>
                  <a:pt x="3240111" y="18288"/>
                </a:cubicBezTo>
                <a:cubicBezTo>
                  <a:pt x="3052646" y="35191"/>
                  <a:pt x="2749652" y="-13914"/>
                  <a:pt x="2450853" y="18288"/>
                </a:cubicBezTo>
                <a:cubicBezTo>
                  <a:pt x="2152054" y="50490"/>
                  <a:pt x="1928331" y="61101"/>
                  <a:pt x="1564669" y="18288"/>
                </a:cubicBezTo>
                <a:cubicBezTo>
                  <a:pt x="1201007" y="-24525"/>
                  <a:pt x="1217828" y="-275"/>
                  <a:pt x="1066190" y="18288"/>
                </a:cubicBezTo>
                <a:cubicBezTo>
                  <a:pt x="914552" y="36851"/>
                  <a:pt x="418290" y="-14785"/>
                  <a:pt x="0" y="18288"/>
                </a:cubicBezTo>
                <a:cubicBezTo>
                  <a:pt x="641" y="14236"/>
                  <a:pt x="889" y="7550"/>
                  <a:pt x="0" y="0"/>
                </a:cubicBezTo>
                <a:close/>
              </a:path>
            </a:pathLst>
          </a:custGeom>
          <a:solidFill>
            <a:srgbClr val="FFFFFF">
              <a:alpha val="75000"/>
            </a:srgbClr>
          </a:solidFill>
          <a:ln w="44450" cap="rnd">
            <a:solidFill>
              <a:srgbClr val="FFFFFF">
                <a:alpha val="75000"/>
              </a:srgbClr>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8490" name="Rectangle 3">
            <a:extLst>
              <a:ext uri="{FF2B5EF4-FFF2-40B4-BE49-F238E27FC236}">
                <a16:creationId xmlns:a16="http://schemas.microsoft.com/office/drawing/2014/main" id="{102A290F-EE2B-42F7-A802-EDB94990F12B}"/>
              </a:ext>
            </a:extLst>
          </p:cNvPr>
          <p:cNvGraphicFramePr/>
          <p:nvPr>
            <p:extLst>
              <p:ext uri="{D42A27DB-BD31-4B8C-83A1-F6EECF244321}">
                <p14:modId xmlns:p14="http://schemas.microsoft.com/office/powerpoint/2010/main" val="571478326"/>
              </p:ext>
            </p:extLst>
          </p:nvPr>
        </p:nvGraphicFramePr>
        <p:xfrm>
          <a:off x="838200" y="2004446"/>
          <a:ext cx="10515600" cy="41768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47542432"/>
      </p:ext>
    </p:extLst>
  </p:cSld>
  <p:clrMapOvr>
    <a:overrideClrMapping bg1="dk1" tx1="lt1" bg2="dk2" tx2="lt2" accent1="accent1" accent2="accent2" accent3="accent3" accent4="accent4" accent5="accent5" accent6="accent6" hlink="hlink" folHlink="folHlink"/>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665DBBEF-238B-476B-96AB-8AAC3224ECE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p:cNvSpPr>
            <a:spLocks noGrp="1"/>
          </p:cNvSpPr>
          <p:nvPr>
            <p:ph type="title"/>
          </p:nvPr>
        </p:nvSpPr>
        <p:spPr>
          <a:xfrm>
            <a:off x="638882" y="639193"/>
            <a:ext cx="3571810" cy="3573516"/>
          </a:xfrm>
        </p:spPr>
        <p:txBody>
          <a:bodyPr vert="horz" lIns="91440" tIns="45720" rIns="91440" bIns="45720" rtlCol="0" anchor="b">
            <a:normAutofit/>
          </a:bodyPr>
          <a:lstStyle/>
          <a:p>
            <a:r>
              <a:rPr lang="en-US" sz="5100" b="1" kern="1200">
                <a:solidFill>
                  <a:schemeClr val="tx1"/>
                </a:solidFill>
                <a:latin typeface="+mj-lt"/>
                <a:ea typeface="+mj-ea"/>
                <a:cs typeface="+mj-cs"/>
              </a:rPr>
              <a:t>Sponsorship 3.0 : BNP Paribas </a:t>
            </a:r>
          </a:p>
        </p:txBody>
      </p:sp>
      <p:sp>
        <p:nvSpPr>
          <p:cNvPr id="12" name="sketch line">
            <a:extLst>
              <a:ext uri="{FF2B5EF4-FFF2-40B4-BE49-F238E27FC236}">
                <a16:creationId xmlns:a16="http://schemas.microsoft.com/office/drawing/2014/main" id="{3FCFB1DE-0B7E-48CC-BA90-B2AB0889F9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4409267"/>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Image 4">
            <a:hlinkClick r:id="rId2"/>
          </p:cNvPr>
          <p:cNvPicPr>
            <a:picLocks noChangeAspect="1"/>
          </p:cNvPicPr>
          <p:nvPr/>
        </p:nvPicPr>
        <p:blipFill rotWithShape="1">
          <a:blip r:embed="rId3">
            <a:extLst>
              <a:ext uri="{28A0092B-C50C-407E-A947-70E740481C1C}">
                <a14:useLocalDpi xmlns:a14="http://schemas.microsoft.com/office/drawing/2010/main" val="0"/>
              </a:ext>
            </a:extLst>
          </a:blip>
          <a:srcRect b="39605"/>
          <a:stretch/>
        </p:blipFill>
        <p:spPr>
          <a:xfrm>
            <a:off x="4654296" y="1961047"/>
            <a:ext cx="7214616" cy="2908474"/>
          </a:xfrm>
          <a:prstGeom prst="rect">
            <a:avLst/>
          </a:prstGeom>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3980328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8" name="Picture 10" descr="The new Arsenal Tiny machine makes its debut | Partner promotion | News |  Arsenal.com">
            <a:extLst>
              <a:ext uri="{FF2B5EF4-FFF2-40B4-BE49-F238E27FC236}">
                <a16:creationId xmlns:a16="http://schemas.microsoft.com/office/drawing/2014/main" id="{10A70724-F027-49AD-2F73-8650782F1AF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515" r="7164" b="-2"/>
          <a:stretch/>
        </p:blipFill>
        <p:spPr bwMode="auto">
          <a:xfrm>
            <a:off x="6176433" y="10"/>
            <a:ext cx="6015567" cy="3920034"/>
          </a:xfrm>
          <a:custGeom>
            <a:avLst/>
            <a:gdLst/>
            <a:ahLst/>
            <a:cxnLst/>
            <a:rect l="l" t="t" r="r" b="b"/>
            <a:pathLst>
              <a:path w="6015567" h="3920044">
                <a:moveTo>
                  <a:pt x="0" y="0"/>
                </a:moveTo>
                <a:lnTo>
                  <a:pt x="6015567" y="0"/>
                </a:lnTo>
                <a:lnTo>
                  <a:pt x="6015567" y="3920044"/>
                </a:lnTo>
                <a:lnTo>
                  <a:pt x="2469659" y="3920044"/>
                </a:lnTo>
                <a:lnTo>
                  <a:pt x="2469659" y="3103224"/>
                </a:lnTo>
                <a:lnTo>
                  <a:pt x="0" y="3103224"/>
                </a:lnTo>
                <a:close/>
              </a:path>
            </a:pathLst>
          </a:custGeom>
          <a:noFill/>
          <a:extLst>
            <a:ext uri="{909E8E84-426E-40DD-AFC4-6F175D3DCCD1}">
              <a14:hiddenFill xmlns:a14="http://schemas.microsoft.com/office/drawing/2010/main">
                <a:solidFill>
                  <a:srgbClr val="FFFFFF"/>
                </a:solidFill>
              </a14:hiddenFill>
            </a:ext>
          </a:extLst>
        </p:spPr>
      </p:pic>
      <p:pic>
        <p:nvPicPr>
          <p:cNvPr id="2052" name="Picture 4" descr="Lavazza extends French Open coffee partnership until 2025 - World Coffee  Portal">
            <a:extLst>
              <a:ext uri="{FF2B5EF4-FFF2-40B4-BE49-F238E27FC236}">
                <a16:creationId xmlns:a16="http://schemas.microsoft.com/office/drawing/2014/main" id="{211C6FCD-7916-7C4B-FCD3-897BF9C4175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4893" b="-4"/>
          <a:stretch/>
        </p:blipFill>
        <p:spPr bwMode="auto">
          <a:xfrm>
            <a:off x="20" y="4069976"/>
            <a:ext cx="3535311" cy="2788023"/>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Italian espresso plays at home: Lavazza Platinum Partner of the 2021-2025  Nitto ATP Finals in Turin">
            <a:extLst>
              <a:ext uri="{FF2B5EF4-FFF2-40B4-BE49-F238E27FC236}">
                <a16:creationId xmlns:a16="http://schemas.microsoft.com/office/drawing/2014/main" id="{6966AB71-29FE-ADCE-00ED-1B402C62810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4452" r="11400" b="-1"/>
          <a:stretch/>
        </p:blipFill>
        <p:spPr bwMode="auto">
          <a:xfrm>
            <a:off x="3696199" y="3257176"/>
            <a:ext cx="4789093" cy="3600824"/>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Lavazza delivers perfect serve for Wimbledon's 100th year of centre court">
            <a:extLst>
              <a:ext uri="{FF2B5EF4-FFF2-40B4-BE49-F238E27FC236}">
                <a16:creationId xmlns:a16="http://schemas.microsoft.com/office/drawing/2014/main" id="{5298C3DC-D46A-A850-C0B2-4C7C070259D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1" b="2375"/>
          <a:stretch/>
        </p:blipFill>
        <p:spPr bwMode="auto">
          <a:xfrm>
            <a:off x="1" y="10"/>
            <a:ext cx="6015567" cy="3920034"/>
          </a:xfrm>
          <a:custGeom>
            <a:avLst/>
            <a:gdLst/>
            <a:ahLst/>
            <a:cxnLst/>
            <a:rect l="l" t="t" r="r" b="b"/>
            <a:pathLst>
              <a:path w="6015567" h="3920044">
                <a:moveTo>
                  <a:pt x="0" y="0"/>
                </a:moveTo>
                <a:lnTo>
                  <a:pt x="6015567" y="0"/>
                </a:lnTo>
                <a:lnTo>
                  <a:pt x="6015567" y="3103224"/>
                </a:lnTo>
                <a:lnTo>
                  <a:pt x="3545908" y="3103224"/>
                </a:lnTo>
                <a:lnTo>
                  <a:pt x="3545908" y="3920044"/>
                </a:lnTo>
                <a:lnTo>
                  <a:pt x="0" y="3920044"/>
                </a:lnTo>
                <a:close/>
              </a:path>
            </a:pathLst>
          </a:custGeom>
          <a:noFill/>
          <a:extLst>
            <a:ext uri="{909E8E84-426E-40DD-AFC4-6F175D3DCCD1}">
              <a14:hiddenFill xmlns:a14="http://schemas.microsoft.com/office/drawing/2010/main">
                <a:solidFill>
                  <a:srgbClr val="FFFFFF"/>
                </a:solidFill>
              </a14:hiddenFill>
            </a:ext>
          </a:extLst>
        </p:spPr>
      </p:pic>
      <p:pic>
        <p:nvPicPr>
          <p:cNvPr id="2050" name="Picture 2" descr="Jannik Sinner and Lavazza: a partnership of rituals | Lavazza">
            <a:extLst>
              <a:ext uri="{FF2B5EF4-FFF2-40B4-BE49-F238E27FC236}">
                <a16:creationId xmlns:a16="http://schemas.microsoft.com/office/drawing/2014/main" id="{53011B00-E483-08AB-9866-F22E5534535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4064" r="2316" b="1"/>
          <a:stretch/>
        </p:blipFill>
        <p:spPr bwMode="auto">
          <a:xfrm>
            <a:off x="8646161" y="4069976"/>
            <a:ext cx="3545840" cy="27880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31326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Média en ligne 1" title="Case Study - We Are Tennis Fan Academy - BNP PARIBAS (2016)">
            <a:hlinkClick r:id="" action="ppaction://media"/>
            <a:extLst>
              <a:ext uri="{FF2B5EF4-FFF2-40B4-BE49-F238E27FC236}">
                <a16:creationId xmlns:a16="http://schemas.microsoft.com/office/drawing/2014/main" id="{49CA08F4-16D1-43BE-8B24-6F0F000020B6}"/>
              </a:ext>
            </a:extLst>
          </p:cNvPr>
          <p:cNvPicPr>
            <a:picLocks noRot="1" noChangeAspect="1"/>
          </p:cNvPicPr>
          <p:nvPr>
            <a:videoFile r:link="rId1"/>
          </p:nvPr>
        </p:nvPicPr>
        <p:blipFill>
          <a:blip r:embed="rId3"/>
          <a:stretch>
            <a:fillRect/>
          </a:stretch>
        </p:blipFill>
        <p:spPr>
          <a:xfrm>
            <a:off x="0" y="0"/>
            <a:ext cx="12192000" cy="6888480"/>
          </a:xfrm>
          <a:prstGeom prst="rect">
            <a:avLst/>
          </a:prstGeom>
        </p:spPr>
      </p:pic>
    </p:spTree>
    <p:extLst>
      <p:ext uri="{BB962C8B-B14F-4D97-AF65-F5344CB8AC3E}">
        <p14:creationId xmlns:p14="http://schemas.microsoft.com/office/powerpoint/2010/main" val="930207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Image 2" descr="Une image contenant intérieur&#10;&#10;Description générée automatiquement">
            <a:extLst>
              <a:ext uri="{FF2B5EF4-FFF2-40B4-BE49-F238E27FC236}">
                <a16:creationId xmlns:a16="http://schemas.microsoft.com/office/drawing/2014/main" id="{9BB0C037-6D14-40F7-8711-9B438FB3D550}"/>
              </a:ext>
            </a:extLst>
          </p:cNvPr>
          <p:cNvPicPr>
            <a:picLocks noChangeAspect="1"/>
          </p:cNvPicPr>
          <p:nvPr/>
        </p:nvPicPr>
        <p:blipFill rotWithShape="1">
          <a:blip r:embed="rId2"/>
          <a:srcRect r="32162" b="3"/>
          <a:stretch/>
        </p:blipFill>
        <p:spPr>
          <a:xfrm rot="5400000">
            <a:off x="600260" y="783167"/>
            <a:ext cx="5378079" cy="5291666"/>
          </a:xfrm>
          <a:prstGeom prst="rect">
            <a:avLst/>
          </a:prstGeom>
        </p:spPr>
      </p:pic>
      <p:pic>
        <p:nvPicPr>
          <p:cNvPr id="5" name="Image 4" descr="Une image contenant texte&#10;&#10;Description générée automatiquement">
            <a:extLst>
              <a:ext uri="{FF2B5EF4-FFF2-40B4-BE49-F238E27FC236}">
                <a16:creationId xmlns:a16="http://schemas.microsoft.com/office/drawing/2014/main" id="{6729A9CC-BA5B-476C-9FBC-77E6D44883FC}"/>
              </a:ext>
            </a:extLst>
          </p:cNvPr>
          <p:cNvPicPr>
            <a:picLocks noChangeAspect="1"/>
          </p:cNvPicPr>
          <p:nvPr/>
        </p:nvPicPr>
        <p:blipFill rotWithShape="1">
          <a:blip r:embed="rId3"/>
          <a:srcRect l="31855" r="2468"/>
          <a:stretch/>
        </p:blipFill>
        <p:spPr>
          <a:xfrm rot="10800000">
            <a:off x="6256865" y="739940"/>
            <a:ext cx="5291667" cy="5378119"/>
          </a:xfrm>
          <a:prstGeom prst="rect">
            <a:avLst/>
          </a:prstGeom>
        </p:spPr>
      </p:pic>
    </p:spTree>
    <p:extLst>
      <p:ext uri="{BB962C8B-B14F-4D97-AF65-F5344CB8AC3E}">
        <p14:creationId xmlns:p14="http://schemas.microsoft.com/office/powerpoint/2010/main" val="46278158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5364" name="Picture 4" descr="Image associÃ©e">
            <a:extLst>
              <a:ext uri="{FF2B5EF4-FFF2-40B4-BE49-F238E27FC236}">
                <a16:creationId xmlns:a16="http://schemas.microsoft.com/office/drawing/2014/main" id="{3F91101F-2C8E-46D8-9B3E-7589BA845460}"/>
              </a:ext>
            </a:extLst>
          </p:cNvPr>
          <p:cNvPicPr>
            <a:picLocks noChangeAspect="1" noChangeArrowheads="1"/>
          </p:cNvPicPr>
          <p:nvPr/>
        </p:nvPicPr>
        <p:blipFill rotWithShape="1">
          <a:blip r:embed="rId2">
            <a:duotone>
              <a:prstClr val="black"/>
              <a:schemeClr val="tx2">
                <a:tint val="45000"/>
                <a:satMod val="400000"/>
              </a:schemeClr>
            </a:duotone>
            <a:extLst>
              <a:ext uri="{28A0092B-C50C-407E-A947-70E740481C1C}">
                <a14:useLocalDpi xmlns:a14="http://schemas.microsoft.com/office/drawing/2010/main" val="0"/>
              </a:ext>
            </a:extLst>
          </a:blip>
          <a:srcRect l="23942" r="9391"/>
          <a:stretch/>
        </p:blipFill>
        <p:spPr bwMode="auto">
          <a:xfrm>
            <a:off x="20" y="10"/>
            <a:ext cx="12191980" cy="6857990"/>
          </a:xfrm>
          <a:prstGeom prst="rect">
            <a:avLst/>
          </a:prstGeom>
          <a:noFill/>
          <a:extLst>
            <a:ext uri="{909E8E84-426E-40DD-AFC4-6F175D3DCCD1}">
              <a14:hiddenFill xmlns:a14="http://schemas.microsoft.com/office/drawing/2010/main">
                <a:solidFill>
                  <a:srgbClr val="FFFFFF"/>
                </a:solidFill>
              </a14:hiddenFill>
            </a:ext>
          </a:extLst>
        </p:spPr>
      </p:pic>
      <p:sp>
        <p:nvSpPr>
          <p:cNvPr id="15369" name="Rectangle 15368">
            <a:extLst>
              <a:ext uri="{FF2B5EF4-FFF2-40B4-BE49-F238E27FC236}">
                <a16:creationId xmlns:a16="http://schemas.microsoft.com/office/drawing/2014/main" id="{B4147794-66B7-4CDE-BC75-BBDC48B2FC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59481" y="0"/>
            <a:ext cx="7718119" cy="6858000"/>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Schoolbook" panose="02040604050505020304"/>
              <a:ea typeface="+mn-ea"/>
              <a:cs typeface="+mn-cs"/>
            </a:endParaRPr>
          </a:p>
        </p:txBody>
      </p:sp>
      <p:sp>
        <p:nvSpPr>
          <p:cNvPr id="2" name="Titre 1"/>
          <p:cNvSpPr>
            <a:spLocks noGrp="1"/>
          </p:cNvSpPr>
          <p:nvPr>
            <p:ph type="title"/>
          </p:nvPr>
        </p:nvSpPr>
        <p:spPr>
          <a:xfrm>
            <a:off x="4050889" y="365758"/>
            <a:ext cx="6784259" cy="1828800"/>
          </a:xfrm>
        </p:spPr>
        <p:txBody>
          <a:bodyPr>
            <a:normAutofit/>
          </a:bodyPr>
          <a:lstStyle/>
          <a:p>
            <a:r>
              <a:rPr lang="fr-FR" sz="4800" b="1">
                <a:solidFill>
                  <a:schemeClr val="tx1">
                    <a:lumMod val="85000"/>
                    <a:lumOff val="15000"/>
                  </a:schemeClr>
                </a:solidFill>
              </a:rPr>
              <a:t>Activation Plan / Program to create your offer </a:t>
            </a:r>
          </a:p>
        </p:txBody>
      </p:sp>
      <p:sp>
        <p:nvSpPr>
          <p:cNvPr id="15371" name="Rectangle 15370">
            <a:extLst>
              <a:ext uri="{FF2B5EF4-FFF2-40B4-BE49-F238E27FC236}">
                <a16:creationId xmlns:a16="http://schemas.microsoft.com/office/drawing/2014/main" id="{41202E79-1236-4DF8-9921-F47A0B079C1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77600" y="0"/>
            <a:ext cx="914400" cy="6858000"/>
          </a:xfrm>
          <a:prstGeom prst="rect">
            <a:avLst/>
          </a:prstGeom>
          <a:solidFill>
            <a:schemeClr val="tx1">
              <a:lumMod val="85000"/>
              <a:lumOff val="1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fr-FR"/>
          </a:p>
        </p:txBody>
      </p:sp>
      <p:graphicFrame>
        <p:nvGraphicFramePr>
          <p:cNvPr id="5" name="Espace réservé du contenu 2">
            <a:extLst>
              <a:ext uri="{FF2B5EF4-FFF2-40B4-BE49-F238E27FC236}">
                <a16:creationId xmlns:a16="http://schemas.microsoft.com/office/drawing/2014/main" id="{0E8BB920-03AA-4060-A03B-D04D8475D79D}"/>
              </a:ext>
            </a:extLst>
          </p:cNvPr>
          <p:cNvGraphicFramePr>
            <a:graphicFrameLocks noGrp="1"/>
          </p:cNvGraphicFramePr>
          <p:nvPr>
            <p:ph idx="1"/>
            <p:extLst>
              <p:ext uri="{D42A27DB-BD31-4B8C-83A1-F6EECF244321}">
                <p14:modId xmlns:p14="http://schemas.microsoft.com/office/powerpoint/2010/main" val="2346727046"/>
              </p:ext>
            </p:extLst>
          </p:nvPr>
        </p:nvGraphicFramePr>
        <p:xfrm>
          <a:off x="4050889" y="2324100"/>
          <a:ext cx="6784259" cy="38750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0805424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Image 4"/>
          <p:cNvPicPr>
            <a:picLocks noChangeAspect="1"/>
          </p:cNvPicPr>
          <p:nvPr/>
        </p:nvPicPr>
        <p:blipFill rotWithShape="1">
          <a:blip r:embed="rId2">
            <a:extLst>
              <a:ext uri="{28A0092B-C50C-407E-A947-70E740481C1C}">
                <a14:useLocalDpi xmlns:a14="http://schemas.microsoft.com/office/drawing/2010/main" val="0"/>
              </a:ext>
            </a:extLst>
          </a:blip>
          <a:srcRect t="13840" b="11174"/>
          <a:stretch/>
        </p:blipFill>
        <p:spPr>
          <a:xfrm>
            <a:off x="20" y="1282"/>
            <a:ext cx="12191980" cy="6856718"/>
          </a:xfrm>
          <a:prstGeom prst="rect">
            <a:avLst/>
          </a:prstGeom>
          <a:solidFill>
            <a:srgbClr val="FFFFFF">
              <a:shade val="85000"/>
            </a:srgbClr>
          </a:solidFill>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317724211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Imag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92162"/>
            <a:ext cx="11304123" cy="6360784"/>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sp>
        <p:nvSpPr>
          <p:cNvPr id="5" name="ZoneTexte 4"/>
          <p:cNvSpPr txBox="1"/>
          <p:nvPr/>
        </p:nvSpPr>
        <p:spPr>
          <a:xfrm>
            <a:off x="395111" y="3736622"/>
            <a:ext cx="4131733" cy="1107996"/>
          </a:xfrm>
          <a:prstGeom prst="rect">
            <a:avLst/>
          </a:prstGeom>
          <a:noFill/>
        </p:spPr>
        <p:txBody>
          <a:bodyPr wrap="square" rtlCol="0">
            <a:spAutoFit/>
          </a:bodyPr>
          <a:lstStyle/>
          <a:p>
            <a:r>
              <a:rPr lang="fr-FR" sz="6600" b="1" dirty="0">
                <a:latin typeface="Freestyle Script" panose="030804020302050B0404" pitchFamily="66" charset="0"/>
              </a:rPr>
              <a:t>EMOTION ²</a:t>
            </a:r>
          </a:p>
        </p:txBody>
      </p:sp>
    </p:spTree>
    <p:extLst>
      <p:ext uri="{BB962C8B-B14F-4D97-AF65-F5344CB8AC3E}">
        <p14:creationId xmlns:p14="http://schemas.microsoft.com/office/powerpoint/2010/main" val="182977278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59746" name="Picture 2" descr="prnphotos074938-YOPLAIT-SAVE-LIDS-T-797716"/>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798745" y="870127"/>
            <a:ext cx="5136388" cy="5136388"/>
          </a:xfrm>
          <a:prstGeom prst="rect">
            <a:avLst/>
          </a:prstGeom>
          <a:noFill/>
          <a:extLst>
            <a:ext uri="{909E8E84-426E-40DD-AFC4-6F175D3DCCD1}">
              <a14:hiddenFill xmlns:a14="http://schemas.microsoft.com/office/drawing/2010/main">
                <a:solidFill>
                  <a:srgbClr val="FFFFFF"/>
                </a:solidFill>
              </a14:hiddenFill>
            </a:ext>
          </a:extLst>
        </p:spPr>
      </p:pic>
      <p:pic>
        <p:nvPicPr>
          <p:cNvPr id="159747" name="Picture 3" descr="yoplait-ad"/>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256866" y="1075583"/>
            <a:ext cx="5136388" cy="4725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651123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Imag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4334" y="1056649"/>
            <a:ext cx="10577744" cy="4739619"/>
          </a:xfrm>
          <a:prstGeom prst="rect">
            <a:avLst/>
          </a:prstGeom>
          <a:scene3d>
            <a:camera prst="perspectiveRelaxed">
              <a:rot lat="19800000" lon="1200000" rev="20820000"/>
            </a:camera>
            <a:lightRig rig="threePt" dir="t"/>
          </a:scene3d>
          <a:sp3d contourW="6350" prstMaterial="matte">
            <a:bevelT w="101600" h="101600"/>
            <a:contourClr>
              <a:srgbClr val="969696"/>
            </a:contourClr>
          </a:sp3d>
        </p:spPr>
      </p:pic>
    </p:spTree>
    <p:extLst>
      <p:ext uri="{BB962C8B-B14F-4D97-AF65-F5344CB8AC3E}">
        <p14:creationId xmlns:p14="http://schemas.microsoft.com/office/powerpoint/2010/main" val="352845108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1794" name="Picture 2" descr="product_red_how-it-works"/>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403790" y="643467"/>
            <a:ext cx="1559661" cy="2475653"/>
          </a:xfrm>
          <a:prstGeom prst="rect">
            <a:avLst/>
          </a:prstGeom>
          <a:noFill/>
          <a:extLst>
            <a:ext uri="{909E8E84-426E-40DD-AFC4-6F175D3DCCD1}">
              <a14:hiddenFill xmlns:a14="http://schemas.microsoft.com/office/drawing/2010/main">
                <a:solidFill>
                  <a:srgbClr val="FFFFFF"/>
                </a:solidFill>
              </a14:hiddenFill>
            </a:ext>
          </a:extLst>
        </p:spPr>
      </p:pic>
      <p:pic>
        <p:nvPicPr>
          <p:cNvPr id="161799" name="Picture 7" descr="gp617620-00vliv01"/>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5082394" y="650497"/>
            <a:ext cx="1851467" cy="2468623"/>
          </a:xfrm>
          <a:prstGeom prst="rect">
            <a:avLst/>
          </a:prstGeom>
          <a:noFill/>
          <a:extLst>
            <a:ext uri="{909E8E84-426E-40DD-AFC4-6F175D3DCCD1}">
              <a14:hiddenFill xmlns:a14="http://schemas.microsoft.com/office/drawing/2010/main">
                <a:solidFill>
                  <a:srgbClr val="FFFFFF"/>
                </a:solidFill>
              </a14:hiddenFill>
            </a:ext>
          </a:extLst>
        </p:spPr>
      </p:pic>
      <p:pic>
        <p:nvPicPr>
          <p:cNvPr id="161795" name="Picture 3" descr="apple-product-red-special-edition-ipod-shuffle-nano"/>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8924748" y="650497"/>
            <a:ext cx="2030442" cy="2468623"/>
          </a:xfrm>
          <a:prstGeom prst="rect">
            <a:avLst/>
          </a:prstGeom>
          <a:noFill/>
          <a:extLst>
            <a:ext uri="{909E8E84-426E-40DD-AFC4-6F175D3DCCD1}">
              <a14:hiddenFill xmlns:a14="http://schemas.microsoft.com/office/drawing/2010/main">
                <a:solidFill>
                  <a:srgbClr val="FFFFFF"/>
                </a:solidFill>
              </a14:hiddenFill>
            </a:ext>
          </a:extLst>
        </p:spPr>
      </p:pic>
      <p:pic>
        <p:nvPicPr>
          <p:cNvPr id="161798" name="Picture 6" descr="baby_gap"/>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1470606" y="3748194"/>
            <a:ext cx="1408829" cy="2471631"/>
          </a:xfrm>
          <a:prstGeom prst="rect">
            <a:avLst/>
          </a:prstGeom>
          <a:noFill/>
          <a:extLst>
            <a:ext uri="{909E8E84-426E-40DD-AFC4-6F175D3DCCD1}">
              <a14:hiddenFill xmlns:a14="http://schemas.microsoft.com/office/drawing/2010/main">
                <a:solidFill>
                  <a:srgbClr val="FFFFFF"/>
                </a:solidFill>
              </a14:hiddenFill>
            </a:ext>
          </a:extLst>
        </p:spPr>
      </p:pic>
      <p:pic>
        <p:nvPicPr>
          <p:cNvPr id="161797" name="Picture 5" descr="ea9592s1"/>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4405433" y="4110373"/>
            <a:ext cx="3217333" cy="1817793"/>
          </a:xfrm>
          <a:prstGeom prst="rect">
            <a:avLst/>
          </a:prstGeom>
          <a:noFill/>
          <a:extLst>
            <a:ext uri="{909E8E84-426E-40DD-AFC4-6F175D3DCCD1}">
              <a14:hiddenFill xmlns:a14="http://schemas.microsoft.com/office/drawing/2010/main">
                <a:solidFill>
                  <a:srgbClr val="FFFFFF"/>
                </a:solidFill>
              </a14:hiddenFill>
            </a:ext>
          </a:extLst>
        </p:spPr>
      </p:pic>
      <p:pic>
        <p:nvPicPr>
          <p:cNvPr id="161796" name="Picture 4" descr="motorazr-v3m-red"/>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8313518" y="4052315"/>
            <a:ext cx="3252903" cy="18704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868805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62818" name="Object 2"/>
          <p:cNvGraphicFramePr>
            <a:graphicFrameLocks noChangeAspect="1"/>
          </p:cNvGraphicFramePr>
          <p:nvPr/>
        </p:nvGraphicFramePr>
        <p:xfrm>
          <a:off x="6600826" y="188913"/>
          <a:ext cx="3756025" cy="2597150"/>
        </p:xfrm>
        <a:graphic>
          <a:graphicData uri="http://schemas.openxmlformats.org/presentationml/2006/ole">
            <mc:AlternateContent xmlns:mc="http://schemas.openxmlformats.org/markup-compatibility/2006">
              <mc:Choice xmlns:v="urn:schemas-microsoft-com:vml" Requires="v">
                <p:oleObj name="Document" r:id="rId2" imgW="3822192" imgH="2642616" progId="Word.Document.8">
                  <p:embed/>
                </p:oleObj>
              </mc:Choice>
              <mc:Fallback>
                <p:oleObj name="Document" r:id="rId2" imgW="3822192" imgH="2642616" progId="Word.Document.8">
                  <p:embed/>
                  <p:pic>
                    <p:nvPicPr>
                      <p:cNvPr id="0" nam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00826" y="188913"/>
                        <a:ext cx="3756025" cy="2597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62819" name="Object 3"/>
          <p:cNvGraphicFramePr>
            <a:graphicFrameLocks noChangeAspect="1"/>
          </p:cNvGraphicFramePr>
          <p:nvPr/>
        </p:nvGraphicFramePr>
        <p:xfrm>
          <a:off x="1919289" y="188913"/>
          <a:ext cx="3798887" cy="2590800"/>
        </p:xfrm>
        <a:graphic>
          <a:graphicData uri="http://schemas.openxmlformats.org/presentationml/2006/ole">
            <mc:AlternateContent xmlns:mc="http://schemas.openxmlformats.org/markup-compatibility/2006">
              <mc:Choice xmlns:v="urn:schemas-microsoft-com:vml" Requires="v">
                <p:oleObj name="Document" r:id="rId4" imgW="3797808" imgH="2590800" progId="Word.Document.8">
                  <p:embed/>
                </p:oleObj>
              </mc:Choice>
              <mc:Fallback>
                <p:oleObj name="Document" r:id="rId4" imgW="3797808" imgH="2590800" progId="Word.Document.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19289" y="188913"/>
                        <a:ext cx="3798887" cy="2590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62820" name="Object 4"/>
          <p:cNvGraphicFramePr>
            <a:graphicFrameLocks noChangeAspect="1"/>
          </p:cNvGraphicFramePr>
          <p:nvPr/>
        </p:nvGraphicFramePr>
        <p:xfrm>
          <a:off x="1524000" y="3429000"/>
          <a:ext cx="3849688" cy="2566988"/>
        </p:xfrm>
        <a:graphic>
          <a:graphicData uri="http://schemas.openxmlformats.org/presentationml/2006/ole">
            <mc:AlternateContent xmlns:mc="http://schemas.openxmlformats.org/markup-compatibility/2006">
              <mc:Choice xmlns:v="urn:schemas-microsoft-com:vml" Requires="v">
                <p:oleObj name="Document" r:id="rId6" imgW="3849624" imgH="2566416" progId="Word.Document.8">
                  <p:embed/>
                </p:oleObj>
              </mc:Choice>
              <mc:Fallback>
                <p:oleObj name="Document" r:id="rId6" imgW="3849624" imgH="2566416" progId="Word.Document.8">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4000" y="3429000"/>
                        <a:ext cx="3849688" cy="25669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62821" name="Object 5"/>
          <p:cNvGraphicFramePr>
            <a:graphicFrameLocks noChangeAspect="1"/>
          </p:cNvGraphicFramePr>
          <p:nvPr/>
        </p:nvGraphicFramePr>
        <p:xfrm>
          <a:off x="6383338" y="3213101"/>
          <a:ext cx="3929062" cy="2676525"/>
        </p:xfrm>
        <a:graphic>
          <a:graphicData uri="http://schemas.openxmlformats.org/presentationml/2006/ole">
            <mc:AlternateContent xmlns:mc="http://schemas.openxmlformats.org/markup-compatibility/2006">
              <mc:Choice xmlns:v="urn:schemas-microsoft-com:vml" Requires="v">
                <p:oleObj name="Document" r:id="rId8" imgW="3822192" imgH="2602992" progId="Word.Document.8">
                  <p:embed/>
                </p:oleObj>
              </mc:Choice>
              <mc:Fallback>
                <p:oleObj name="Document" r:id="rId8" imgW="3822192" imgH="2602992" progId="Word.Document.8">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83338" y="3213101"/>
                        <a:ext cx="3929062" cy="267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22960888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63842" name="Object 2"/>
          <p:cNvGraphicFramePr>
            <a:graphicFrameLocks noChangeAspect="1"/>
          </p:cNvGraphicFramePr>
          <p:nvPr/>
        </p:nvGraphicFramePr>
        <p:xfrm>
          <a:off x="2063750" y="260351"/>
          <a:ext cx="3733800" cy="2652713"/>
        </p:xfrm>
        <a:graphic>
          <a:graphicData uri="http://schemas.openxmlformats.org/presentationml/2006/ole">
            <mc:AlternateContent xmlns:mc="http://schemas.openxmlformats.org/markup-compatibility/2006">
              <mc:Choice xmlns:v="urn:schemas-microsoft-com:vml" Requires="v">
                <p:oleObj name="Document" r:id="rId2" imgW="3810000" imgH="2706624" progId="Word.Document.8">
                  <p:embed/>
                </p:oleObj>
              </mc:Choice>
              <mc:Fallback>
                <p:oleObj name="Document" r:id="rId2" imgW="3810000" imgH="2706624" progId="Word.Document.8">
                  <p:embed/>
                  <p:pic>
                    <p:nvPicPr>
                      <p:cNvPr id="0" nam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63750" y="260351"/>
                        <a:ext cx="3733800" cy="2652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63843" name="Object 3"/>
          <p:cNvGraphicFramePr>
            <a:graphicFrameLocks noChangeAspect="1"/>
          </p:cNvGraphicFramePr>
          <p:nvPr/>
        </p:nvGraphicFramePr>
        <p:xfrm>
          <a:off x="6383339" y="260351"/>
          <a:ext cx="3862387" cy="2690813"/>
        </p:xfrm>
        <a:graphic>
          <a:graphicData uri="http://schemas.openxmlformats.org/presentationml/2006/ole">
            <mc:AlternateContent xmlns:mc="http://schemas.openxmlformats.org/markup-compatibility/2006">
              <mc:Choice xmlns:v="urn:schemas-microsoft-com:vml" Requires="v">
                <p:oleObj name="Document" r:id="rId4" imgW="3861816" imgH="2691384" progId="Word.Document.8">
                  <p:embed/>
                </p:oleObj>
              </mc:Choice>
              <mc:Fallback>
                <p:oleObj name="Document" r:id="rId4" imgW="3861816" imgH="2691384" progId="Word.Document.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83339" y="260351"/>
                        <a:ext cx="3862387" cy="26908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63844" name="Object 4"/>
          <p:cNvGraphicFramePr>
            <a:graphicFrameLocks noChangeAspect="1"/>
          </p:cNvGraphicFramePr>
          <p:nvPr/>
        </p:nvGraphicFramePr>
        <p:xfrm>
          <a:off x="2135188" y="3500438"/>
          <a:ext cx="3657600" cy="2563812"/>
        </p:xfrm>
        <a:graphic>
          <a:graphicData uri="http://schemas.openxmlformats.org/presentationml/2006/ole">
            <mc:AlternateContent xmlns:mc="http://schemas.openxmlformats.org/markup-compatibility/2006">
              <mc:Choice xmlns:v="urn:schemas-microsoft-com:vml" Requires="v">
                <p:oleObj name="Document" r:id="rId6" imgW="3822192" imgH="2679192" progId="Word.Document.8">
                  <p:embed/>
                </p:oleObj>
              </mc:Choice>
              <mc:Fallback>
                <p:oleObj name="Document" r:id="rId6" imgW="3822192" imgH="2679192" progId="Word.Document.8">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35188" y="3500438"/>
                        <a:ext cx="3657600" cy="2563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63845" name="Object 5"/>
          <p:cNvGraphicFramePr>
            <a:graphicFrameLocks noChangeAspect="1"/>
          </p:cNvGraphicFramePr>
          <p:nvPr/>
        </p:nvGraphicFramePr>
        <p:xfrm>
          <a:off x="6456364" y="3429000"/>
          <a:ext cx="3798887" cy="2603500"/>
        </p:xfrm>
        <a:graphic>
          <a:graphicData uri="http://schemas.openxmlformats.org/presentationml/2006/ole">
            <mc:AlternateContent xmlns:mc="http://schemas.openxmlformats.org/markup-compatibility/2006">
              <mc:Choice xmlns:v="urn:schemas-microsoft-com:vml" Requires="v">
                <p:oleObj name="Document" r:id="rId8" imgW="3797808" imgH="2602992" progId="Word.Document.8">
                  <p:embed/>
                </p:oleObj>
              </mc:Choice>
              <mc:Fallback>
                <p:oleObj name="Document" r:id="rId8" imgW="3797808" imgH="2602992" progId="Word.Document.8">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56364" y="3429000"/>
                        <a:ext cx="3798887" cy="26035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9962075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tint val="90000"/>
            <a:shade val="97000"/>
            <a:satMod val="130000"/>
          </a:schemeClr>
        </a:solidFill>
        <a:effectLst/>
      </p:bgPr>
    </p:bg>
    <p:spTree>
      <p:nvGrpSpPr>
        <p:cNvPr id="1" name=""/>
        <p:cNvGrpSpPr/>
        <p:nvPr/>
      </p:nvGrpSpPr>
      <p:grpSpPr>
        <a:xfrm>
          <a:off x="0" y="0"/>
          <a:ext cx="0" cy="0"/>
          <a:chOff x="0" y="0"/>
          <a:chExt cx="0" cy="0"/>
        </a:xfrm>
      </p:grpSpPr>
      <p:pic>
        <p:nvPicPr>
          <p:cNvPr id="4" name="Image 3"/>
          <p:cNvPicPr>
            <a:picLocks noChangeAspect="1"/>
          </p:cNvPicPr>
          <p:nvPr/>
        </p:nvPicPr>
        <p:blipFill rotWithShape="1">
          <a:blip r:embed="rId2">
            <a:duotone>
              <a:prstClr val="black"/>
              <a:prstClr val="white"/>
            </a:duotone>
            <a:extLst>
              <a:ext uri="{28A0092B-C50C-407E-A947-70E740481C1C}">
                <a14:useLocalDpi xmlns:a14="http://schemas.microsoft.com/office/drawing/2010/main" val="0"/>
              </a:ext>
            </a:extLst>
          </a:blip>
          <a:srcRect t="16279" r="9091" b="9341"/>
          <a:stretch/>
        </p:blipFill>
        <p:spPr>
          <a:xfrm>
            <a:off x="1" y="10"/>
            <a:ext cx="12192000" cy="6857990"/>
          </a:xfrm>
          <a:prstGeom prst="rect">
            <a:avLst/>
          </a:prstGeom>
        </p:spPr>
      </p:pic>
      <p:sp>
        <p:nvSpPr>
          <p:cNvPr id="2" name="Titre 1"/>
          <p:cNvSpPr>
            <a:spLocks noGrp="1"/>
          </p:cNvSpPr>
          <p:nvPr>
            <p:ph type="title"/>
          </p:nvPr>
        </p:nvSpPr>
        <p:spPr>
          <a:xfrm>
            <a:off x="1097265" y="516835"/>
            <a:ext cx="5982325" cy="1666501"/>
          </a:xfrm>
        </p:spPr>
        <p:txBody>
          <a:bodyPr>
            <a:normAutofit/>
          </a:bodyPr>
          <a:lstStyle/>
          <a:p>
            <a:r>
              <a:rPr lang="fr-FR" sz="4000" b="1">
                <a:solidFill>
                  <a:srgbClr val="FFFFFF"/>
                </a:solidFill>
              </a:rPr>
              <a:t>Our goals</a:t>
            </a:r>
          </a:p>
        </p:txBody>
      </p:sp>
      <p:sp>
        <p:nvSpPr>
          <p:cNvPr id="3" name="Espace réservé du contenu 2"/>
          <p:cNvSpPr>
            <a:spLocks noGrp="1"/>
          </p:cNvSpPr>
          <p:nvPr>
            <p:ph idx="1"/>
          </p:nvPr>
        </p:nvSpPr>
        <p:spPr>
          <a:xfrm>
            <a:off x="1097264" y="2240280"/>
            <a:ext cx="5982325" cy="3652667"/>
          </a:xfrm>
        </p:spPr>
        <p:txBody>
          <a:bodyPr>
            <a:normAutofit/>
          </a:bodyPr>
          <a:lstStyle/>
          <a:p>
            <a:pPr>
              <a:buFont typeface="Courier New" panose="02070309020205020404" pitchFamily="49" charset="0"/>
              <a:buChar char="o"/>
            </a:pPr>
            <a:r>
              <a:rPr lang="fr-FR" sz="1800">
                <a:solidFill>
                  <a:srgbClr val="FFFFFF"/>
                </a:solidFill>
              </a:rPr>
              <a:t>As event or club manager : analyzing and producing a sponsorship activation programs </a:t>
            </a:r>
          </a:p>
          <a:p>
            <a:pPr>
              <a:buFont typeface="Courier New" panose="02070309020205020404" pitchFamily="49" charset="0"/>
              <a:buChar char="o"/>
            </a:pPr>
            <a:endParaRPr lang="fr-FR" sz="1800">
              <a:solidFill>
                <a:srgbClr val="FFFFFF"/>
              </a:solidFill>
            </a:endParaRPr>
          </a:p>
          <a:p>
            <a:pPr>
              <a:buFont typeface="Courier New" panose="02070309020205020404" pitchFamily="49" charset="0"/>
              <a:buChar char="o"/>
            </a:pPr>
            <a:r>
              <a:rPr lang="fr-FR" sz="1800">
                <a:solidFill>
                  <a:srgbClr val="FFFFFF"/>
                </a:solidFill>
              </a:rPr>
              <a:t>Operational approach :</a:t>
            </a:r>
          </a:p>
          <a:p>
            <a:pPr marL="0" indent="0">
              <a:buNone/>
            </a:pPr>
            <a:endParaRPr lang="fr-FR" sz="1800">
              <a:solidFill>
                <a:srgbClr val="FFFFFF"/>
              </a:solidFill>
            </a:endParaRPr>
          </a:p>
          <a:p>
            <a:pPr lvl="1"/>
            <a:r>
              <a:rPr lang="fr-FR">
                <a:solidFill>
                  <a:srgbClr val="FFFFFF"/>
                </a:solidFill>
              </a:rPr>
              <a:t>How to prospect for a new sponsor ?</a:t>
            </a:r>
          </a:p>
          <a:p>
            <a:pPr lvl="1"/>
            <a:endParaRPr lang="fr-FR">
              <a:solidFill>
                <a:srgbClr val="FFFFFF"/>
              </a:solidFill>
            </a:endParaRPr>
          </a:p>
          <a:p>
            <a:pPr lvl="1"/>
            <a:r>
              <a:rPr lang="fr-FR">
                <a:solidFill>
                  <a:srgbClr val="FFFFFF"/>
                </a:solidFill>
              </a:rPr>
              <a:t>How to customize your sponsorsorship offer ?</a:t>
            </a:r>
          </a:p>
        </p:txBody>
      </p:sp>
    </p:spTree>
    <p:extLst>
      <p:ext uri="{BB962C8B-B14F-4D97-AF65-F5344CB8AC3E}">
        <p14:creationId xmlns:p14="http://schemas.microsoft.com/office/powerpoint/2010/main" val="3650034133"/>
      </p:ext>
    </p:extLst>
  </p:cSld>
  <p:clrMapOvr>
    <a:overrideClrMapping bg1="dk1" tx1="lt1" bg2="dk2" tx2="lt2" accent1="accent1" accent2="accent2" accent3="accent3" accent4="accent4" accent5="accent5" accent6="accent6" hlink="hlink" folHlink="folHlink"/>
  </p:clrMapOvr>
</p:sld>
</file>

<file path=ppt/slides/slide8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64866" name="Object 2"/>
          <p:cNvGraphicFramePr>
            <a:graphicFrameLocks noGrp="1" noChangeAspect="1"/>
          </p:cNvGraphicFramePr>
          <p:nvPr>
            <p:ph sz="quarter" idx="1"/>
          </p:nvPr>
        </p:nvGraphicFramePr>
        <p:xfrm>
          <a:off x="1743075" y="1600200"/>
          <a:ext cx="3117850" cy="2185988"/>
        </p:xfrm>
        <a:graphic>
          <a:graphicData uri="http://schemas.openxmlformats.org/presentationml/2006/ole">
            <mc:AlternateContent xmlns:mc="http://schemas.openxmlformats.org/markup-compatibility/2006">
              <mc:Choice xmlns:v="urn:schemas-microsoft-com:vml" Requires="v">
                <p:oleObj name="Document" r:id="rId2" imgW="3822192" imgH="2679192" progId="Word.Document.8">
                  <p:embed/>
                </p:oleObj>
              </mc:Choice>
              <mc:Fallback>
                <p:oleObj name="Document" r:id="rId2" imgW="3822192" imgH="2679192" progId="Word.Document.8">
                  <p:embed/>
                  <p:pic>
                    <p:nvPicPr>
                      <p:cNvPr id="0" nam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3075" y="1600200"/>
                        <a:ext cx="3117850" cy="2185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64867" name="Object 3"/>
          <p:cNvGraphicFramePr>
            <a:graphicFrameLocks noGrp="1" noChangeAspect="1"/>
          </p:cNvGraphicFramePr>
          <p:nvPr>
            <p:ph sz="quarter" idx="2"/>
          </p:nvPr>
        </p:nvGraphicFramePr>
        <p:xfrm>
          <a:off x="6565900" y="1600200"/>
          <a:ext cx="3251200" cy="2187575"/>
        </p:xfrm>
        <a:graphic>
          <a:graphicData uri="http://schemas.openxmlformats.org/presentationml/2006/ole">
            <mc:AlternateContent xmlns:mc="http://schemas.openxmlformats.org/markup-compatibility/2006">
              <mc:Choice xmlns:v="urn:schemas-microsoft-com:vml" Requires="v">
                <p:oleObj name="Document" r:id="rId4" imgW="3773424" imgH="2538984" progId="Word.Document.8">
                  <p:embed/>
                </p:oleObj>
              </mc:Choice>
              <mc:Fallback>
                <p:oleObj name="Document" r:id="rId4" imgW="3773424" imgH="2538984" progId="Word.Document.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65900" y="1600200"/>
                        <a:ext cx="3251200" cy="21875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64868" name="Object 4"/>
          <p:cNvGraphicFramePr>
            <a:graphicFrameLocks noGrp="1" noChangeAspect="1"/>
          </p:cNvGraphicFramePr>
          <p:nvPr>
            <p:ph sz="quarter" idx="3"/>
          </p:nvPr>
        </p:nvGraphicFramePr>
        <p:xfrm>
          <a:off x="1781175" y="3938588"/>
          <a:ext cx="3041650" cy="2187575"/>
        </p:xfrm>
        <a:graphic>
          <a:graphicData uri="http://schemas.openxmlformats.org/presentationml/2006/ole">
            <mc:AlternateContent xmlns:mc="http://schemas.openxmlformats.org/markup-compatibility/2006">
              <mc:Choice xmlns:v="urn:schemas-microsoft-com:vml" Requires="v">
                <p:oleObj name="Document" r:id="rId6" imgW="3797808" imgH="2731008" progId="Word.Document.8">
                  <p:embed/>
                </p:oleObj>
              </mc:Choice>
              <mc:Fallback>
                <p:oleObj name="Document" r:id="rId6" imgW="3797808" imgH="2731008" progId="Word.Document.8">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81175" y="3938588"/>
                        <a:ext cx="3041650" cy="2187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64869" name="Object 5"/>
          <p:cNvGraphicFramePr>
            <a:graphicFrameLocks noGrp="1" noChangeAspect="1"/>
          </p:cNvGraphicFramePr>
          <p:nvPr>
            <p:ph sz="quarter" idx="4"/>
          </p:nvPr>
        </p:nvGraphicFramePr>
        <p:xfrm>
          <a:off x="6635750" y="3938588"/>
          <a:ext cx="3109913" cy="2187575"/>
        </p:xfrm>
        <a:graphic>
          <a:graphicData uri="http://schemas.openxmlformats.org/presentationml/2006/ole">
            <mc:AlternateContent xmlns:mc="http://schemas.openxmlformats.org/markup-compatibility/2006">
              <mc:Choice xmlns:v="urn:schemas-microsoft-com:vml" Requires="v">
                <p:oleObj name="Document" r:id="rId8" imgW="3773424" imgH="2654808" progId="Word.Document.8">
                  <p:embed/>
                </p:oleObj>
              </mc:Choice>
              <mc:Fallback>
                <p:oleObj name="Document" r:id="rId8" imgW="3773424" imgH="2654808" progId="Word.Document.8">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35750" y="3938588"/>
                        <a:ext cx="3109913" cy="21875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17824258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65890" name="Object 2"/>
          <p:cNvGraphicFramePr>
            <a:graphicFrameLocks noChangeAspect="1"/>
          </p:cNvGraphicFramePr>
          <p:nvPr/>
        </p:nvGraphicFramePr>
        <p:xfrm>
          <a:off x="1992314" y="1628776"/>
          <a:ext cx="4681537" cy="3324225"/>
        </p:xfrm>
        <a:graphic>
          <a:graphicData uri="http://schemas.openxmlformats.org/presentationml/2006/ole">
            <mc:AlternateContent xmlns:mc="http://schemas.openxmlformats.org/markup-compatibility/2006">
              <mc:Choice xmlns:v="urn:schemas-microsoft-com:vml" Requires="v">
                <p:oleObj name="Document" r:id="rId2" imgW="3773424" imgH="2679192" progId="Word.Document.8">
                  <p:embed/>
                </p:oleObj>
              </mc:Choice>
              <mc:Fallback>
                <p:oleObj name="Document" r:id="rId2" imgW="3773424" imgH="2679192" progId="Word.Document.8">
                  <p:embed/>
                  <p:pic>
                    <p:nvPicPr>
                      <p:cNvPr id="0" nam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2314" y="1628776"/>
                        <a:ext cx="4681537" cy="3324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65891" name="Object 3"/>
          <p:cNvGraphicFramePr>
            <a:graphicFrameLocks noChangeAspect="1"/>
          </p:cNvGraphicFramePr>
          <p:nvPr/>
        </p:nvGraphicFramePr>
        <p:xfrm>
          <a:off x="7391401" y="1052513"/>
          <a:ext cx="2651125" cy="4191000"/>
        </p:xfrm>
        <a:graphic>
          <a:graphicData uri="http://schemas.openxmlformats.org/presentationml/2006/ole">
            <mc:AlternateContent xmlns:mc="http://schemas.openxmlformats.org/markup-compatibility/2006">
              <mc:Choice xmlns:v="urn:schemas-microsoft-com:vml" Requires="v">
                <p:oleObj name="Document" r:id="rId4" imgW="2755392" imgH="4355592" progId="Word.Document.8">
                  <p:embed/>
                </p:oleObj>
              </mc:Choice>
              <mc:Fallback>
                <p:oleObj name="Document" r:id="rId4" imgW="2755392" imgH="4355592" progId="Word.Document.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91401" y="1052513"/>
                        <a:ext cx="2651125" cy="419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315441752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6920" name="Rectangle 166919">
            <a:extLst>
              <a:ext uri="{FF2B5EF4-FFF2-40B4-BE49-F238E27FC236}">
                <a16:creationId xmlns:a16="http://schemas.microsoft.com/office/drawing/2014/main" id="{C1DD1A8A-57D5-4A81-AD04-532B043C5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6916" name="Picture 166915" descr="Close-up of hopscotch on a sidewalk">
            <a:extLst>
              <a:ext uri="{FF2B5EF4-FFF2-40B4-BE49-F238E27FC236}">
                <a16:creationId xmlns:a16="http://schemas.microsoft.com/office/drawing/2014/main" id="{A24E9135-04F1-D1CB-E4FD-4D9FF4E9ECF3}"/>
              </a:ext>
            </a:extLst>
          </p:cNvPr>
          <p:cNvPicPr>
            <a:picLocks noChangeAspect="1"/>
          </p:cNvPicPr>
          <p:nvPr/>
        </p:nvPicPr>
        <p:blipFill rotWithShape="1">
          <a:blip r:embed="rId2"/>
          <a:srcRect t="7097" b="8634"/>
          <a:stretch/>
        </p:blipFill>
        <p:spPr>
          <a:xfrm>
            <a:off x="-3047" y="10"/>
            <a:ext cx="12191999" cy="6857990"/>
          </a:xfrm>
          <a:prstGeom prst="rect">
            <a:avLst/>
          </a:prstGeom>
        </p:spPr>
      </p:pic>
      <p:sp>
        <p:nvSpPr>
          <p:cNvPr id="166922" name="Rectangle 166921">
            <a:extLst>
              <a:ext uri="{FF2B5EF4-FFF2-40B4-BE49-F238E27FC236}">
                <a16:creationId xmlns:a16="http://schemas.microsoft.com/office/drawing/2014/main" id="{007891EC-4501-44ED-A8C8-B11B6DB767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7602"/>
            <a:ext cx="12191999" cy="3162146"/>
          </a:xfrm>
          <a:prstGeom prst="rect">
            <a:avLst/>
          </a:prstGeom>
          <a:gradFill flip="none" rotWithShape="1">
            <a:gsLst>
              <a:gs pos="0">
                <a:srgbClr val="000000">
                  <a:alpha val="0"/>
                </a:srgbClr>
              </a:gs>
              <a:gs pos="25000">
                <a:srgbClr val="000000">
                  <a:alpha val="15000"/>
                </a:srgbClr>
              </a:gs>
              <a:gs pos="75000">
                <a:srgbClr val="000000">
                  <a:alpha val="15000"/>
                </a:srgbClr>
              </a:gs>
              <a:gs pos="50000">
                <a:srgbClr val="000000">
                  <a:alpha val="30000"/>
                </a:srgbClr>
              </a:gs>
              <a:gs pos="10000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914" name="Rectangle 2"/>
          <p:cNvSpPr>
            <a:spLocks noGrp="1" noChangeArrowheads="1"/>
          </p:cNvSpPr>
          <p:nvPr>
            <p:ph type="ctrTitle"/>
          </p:nvPr>
        </p:nvSpPr>
        <p:spPr>
          <a:xfrm>
            <a:off x="1097280" y="325550"/>
            <a:ext cx="10058400" cy="3574778"/>
          </a:xfrm>
          <a:effectLst>
            <a:outerShdw blurRad="50800" dist="38100" dir="2700000" algn="tl" rotWithShape="0">
              <a:prstClr val="black">
                <a:alpha val="40000"/>
              </a:prstClr>
            </a:outerShdw>
          </a:effectLst>
        </p:spPr>
        <p:txBody>
          <a:bodyPr>
            <a:normAutofit/>
          </a:bodyPr>
          <a:lstStyle/>
          <a:p>
            <a:r>
              <a:rPr lang="fr-FR" sz="4800" b="1">
                <a:solidFill>
                  <a:srgbClr val="FFFFFF"/>
                </a:solidFill>
              </a:rPr>
              <a:t>Opportunism</a:t>
            </a:r>
            <a:br>
              <a:rPr lang="fr-FR" sz="4800" b="1">
                <a:solidFill>
                  <a:srgbClr val="FFFFFF"/>
                </a:solidFill>
              </a:rPr>
            </a:br>
            <a:br>
              <a:rPr lang="fr-FR" sz="4800" b="1">
                <a:solidFill>
                  <a:srgbClr val="FFFFFF"/>
                </a:solidFill>
              </a:rPr>
            </a:br>
            <a:r>
              <a:rPr lang="fr-FR" sz="4800" b="1">
                <a:solidFill>
                  <a:srgbClr val="FFFFFF"/>
                </a:solidFill>
              </a:rPr>
              <a:t>or</a:t>
            </a:r>
            <a:br>
              <a:rPr lang="fr-FR" sz="4800" b="1">
                <a:solidFill>
                  <a:srgbClr val="FFFFFF"/>
                </a:solidFill>
              </a:rPr>
            </a:br>
            <a:br>
              <a:rPr lang="fr-FR" sz="4800" b="1">
                <a:solidFill>
                  <a:srgbClr val="FFFFFF"/>
                </a:solidFill>
              </a:rPr>
            </a:br>
            <a:r>
              <a:rPr lang="fr-FR" sz="4800" b="1">
                <a:solidFill>
                  <a:srgbClr val="FFFFFF"/>
                </a:solidFill>
              </a:rPr>
              <a:t>Pragmatism ? </a:t>
            </a:r>
          </a:p>
        </p:txBody>
      </p:sp>
    </p:spTree>
    <p:extLst>
      <p:ext uri="{BB962C8B-B14F-4D97-AF65-F5344CB8AC3E}">
        <p14:creationId xmlns:p14="http://schemas.microsoft.com/office/powerpoint/2010/main" val="2364254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166914"/>
                                        </p:tgtEl>
                                        <p:attrNameLst>
                                          <p:attrName>style.visibility</p:attrName>
                                        </p:attrNameLst>
                                      </p:cBhvr>
                                      <p:to>
                                        <p:strVal val="visible"/>
                                      </p:to>
                                    </p:set>
                                    <p:animEffect transition="in" filter="fade">
                                      <p:cBhvr>
                                        <p:cTn id="7" dur="400"/>
                                        <p:tgtEl>
                                          <p:spTgt spid="1669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914" grpId="0"/>
    </p:bldLst>
  </p:timing>
</p:sld>
</file>

<file path=ppt/slides/slide8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2" name="Image 1"/>
          <p:cNvPicPr>
            <a:picLocks noChangeAspect="1"/>
          </p:cNvPicPr>
          <p:nvPr/>
        </p:nvPicPr>
        <p:blipFill rotWithShape="1">
          <a:blip r:embed="rId2">
            <a:extLst>
              <a:ext uri="{28A0092B-C50C-407E-A947-70E740481C1C}">
                <a14:useLocalDpi xmlns:a14="http://schemas.microsoft.com/office/drawing/2010/main" val="0"/>
              </a:ext>
            </a:extLst>
          </a:blip>
          <a:srcRect r="2629"/>
          <a:stretch/>
        </p:blipFill>
        <p:spPr>
          <a:xfrm>
            <a:off x="196850" y="173518"/>
            <a:ext cx="11798300" cy="6512763"/>
          </a:xfrm>
          <a:prstGeom prst="rect">
            <a:avLst/>
          </a:prstGeom>
          <a:solidFill>
            <a:srgbClr val="FFFFFF">
              <a:shade val="85000"/>
            </a:srgbClr>
          </a:solidFill>
        </p:spPr>
      </p:pic>
    </p:spTree>
    <p:extLst>
      <p:ext uri="{BB962C8B-B14F-4D97-AF65-F5344CB8AC3E}">
        <p14:creationId xmlns:p14="http://schemas.microsoft.com/office/powerpoint/2010/main" val="216757966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3305" name="Rectangle 183304">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9"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3301" name="Picture 183300" descr="Desk with stethoscope and computer keyboard">
            <a:extLst>
              <a:ext uri="{FF2B5EF4-FFF2-40B4-BE49-F238E27FC236}">
                <a16:creationId xmlns:a16="http://schemas.microsoft.com/office/drawing/2014/main" id="{236840BE-6A91-6C45-A5E2-4376B9FE9B4A}"/>
              </a:ext>
            </a:extLst>
          </p:cNvPr>
          <p:cNvPicPr>
            <a:picLocks noChangeAspect="1"/>
          </p:cNvPicPr>
          <p:nvPr/>
        </p:nvPicPr>
        <p:blipFill rotWithShape="1">
          <a:blip r:embed="rId2"/>
          <a:srcRect l="5884" r="-1" b="-1"/>
          <a:stretch/>
        </p:blipFill>
        <p:spPr>
          <a:xfrm>
            <a:off x="2522356" y="10"/>
            <a:ext cx="9669642" cy="6857990"/>
          </a:xfrm>
          <a:prstGeom prst="rect">
            <a:avLst/>
          </a:prstGeom>
        </p:spPr>
      </p:pic>
      <p:sp>
        <p:nvSpPr>
          <p:cNvPr id="183307" name="Rectangle 183306">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7390263"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298" name="Rectangle 2"/>
          <p:cNvSpPr>
            <a:spLocks noGrp="1" noRot="1" noChangeArrowheads="1"/>
          </p:cNvSpPr>
          <p:nvPr>
            <p:ph type="title"/>
          </p:nvPr>
        </p:nvSpPr>
        <p:spPr>
          <a:xfrm>
            <a:off x="838200" y="365125"/>
            <a:ext cx="3822189" cy="1899912"/>
          </a:xfrm>
        </p:spPr>
        <p:txBody>
          <a:bodyPr>
            <a:normAutofit/>
          </a:bodyPr>
          <a:lstStyle/>
          <a:p>
            <a:r>
              <a:rPr lang="fr-FR" sz="4000" b="1"/>
              <a:t>CAUSE RELATED MARKETING</a:t>
            </a:r>
            <a:endParaRPr lang="fr-FR" sz="4000"/>
          </a:p>
        </p:txBody>
      </p:sp>
      <p:sp>
        <p:nvSpPr>
          <p:cNvPr id="183299" name="Rectangle 3"/>
          <p:cNvSpPr>
            <a:spLocks noGrp="1" noChangeArrowheads="1"/>
          </p:cNvSpPr>
          <p:nvPr>
            <p:ph idx="1"/>
          </p:nvPr>
        </p:nvSpPr>
        <p:spPr>
          <a:xfrm>
            <a:off x="838200" y="2434201"/>
            <a:ext cx="3822189" cy="3742762"/>
          </a:xfrm>
        </p:spPr>
        <p:txBody>
          <a:bodyPr>
            <a:normAutofit/>
          </a:bodyPr>
          <a:lstStyle/>
          <a:p>
            <a:endParaRPr lang="fr-FR" sz="1400" b="1"/>
          </a:p>
          <a:p>
            <a:r>
              <a:rPr lang="en-US" sz="1400" b="1"/>
              <a:t>Cause marketing</a:t>
            </a:r>
            <a:r>
              <a:rPr lang="en-US" sz="1400"/>
              <a:t> or </a:t>
            </a:r>
            <a:r>
              <a:rPr lang="en-US" sz="1400" b="1"/>
              <a:t>cause-related marketing</a:t>
            </a:r>
            <a:r>
              <a:rPr lang="en-US" sz="1400"/>
              <a:t> refers to a type of marketing involving the cooperative efforts of a "for profit" business and a non-profit organization for mutual benefit. The term is sometimes used more broadly and generally to refer to any type of marketing effort for social and other charitable causes, including in-house marketing efforts by non-profit organizations. </a:t>
            </a:r>
          </a:p>
          <a:p>
            <a:endParaRPr lang="en-US" sz="1400"/>
          </a:p>
          <a:p>
            <a:r>
              <a:rPr lang="en-US" sz="1400"/>
              <a:t>Cause marketing differs from corporate giving (philanthropy) as the latter generally involves a specific donation that is tax deductible, while cause marketing is a marketing relationship not necessarily based on a donation.</a:t>
            </a:r>
            <a:endParaRPr lang="fr-FR" sz="1400"/>
          </a:p>
        </p:txBody>
      </p:sp>
    </p:spTree>
    <p:extLst>
      <p:ext uri="{BB962C8B-B14F-4D97-AF65-F5344CB8AC3E}">
        <p14:creationId xmlns:p14="http://schemas.microsoft.com/office/powerpoint/2010/main" val="240189999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1017" name="Rectangle 171016">
            <a:extLst>
              <a:ext uri="{FF2B5EF4-FFF2-40B4-BE49-F238E27FC236}">
                <a16:creationId xmlns:a16="http://schemas.microsoft.com/office/drawing/2014/main" id="{99ED5833-B85B-4103-8A3B-CAB0308E6C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011" name="Rectangle 3"/>
          <p:cNvSpPr>
            <a:spLocks noGrp="1" noRot="1" noChangeArrowheads="1"/>
          </p:cNvSpPr>
          <p:nvPr>
            <p:ph type="title"/>
          </p:nvPr>
        </p:nvSpPr>
        <p:spPr>
          <a:xfrm>
            <a:off x="838200" y="365125"/>
            <a:ext cx="10515600" cy="1860400"/>
          </a:xfrm>
        </p:spPr>
        <p:txBody>
          <a:bodyPr vert="horz" lIns="91440" tIns="45720" rIns="91440" bIns="45720" rtlCol="0">
            <a:normAutofit/>
          </a:bodyPr>
          <a:lstStyle/>
          <a:p>
            <a:r>
              <a:rPr lang="en-US" sz="5200">
                <a:effectLst>
                  <a:outerShdw blurRad="38100" dist="38100" dir="2700000" algn="tl">
                    <a:srgbClr val="C0C0C0"/>
                  </a:outerShdw>
                </a:effectLst>
              </a:rPr>
              <a:t>Ethical Corporate Responsibility (Babiak &amp; Wolfe, 2006)</a:t>
            </a:r>
          </a:p>
        </p:txBody>
      </p:sp>
      <p:pic>
        <p:nvPicPr>
          <p:cNvPr id="171010" name="Picture 2" descr="865382075XL"/>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693684" y="2365285"/>
            <a:ext cx="4803360" cy="3938756"/>
          </a:xfrm>
          <a:prstGeom prst="rect">
            <a:avLst/>
          </a:prstGeom>
          <a:solidFill>
            <a:srgbClr val="FFFFFF">
              <a:shade val="85000"/>
            </a:srgbClr>
          </a:solidFill>
        </p:spPr>
      </p:pic>
      <p:pic>
        <p:nvPicPr>
          <p:cNvPr id="171012"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182505" y="2858641"/>
            <a:ext cx="5828261" cy="2952043"/>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7840072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2041" name="Rectangle 172040">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035" name="Rectangle 3"/>
          <p:cNvSpPr>
            <a:spLocks noGrp="1" noChangeArrowheads="1"/>
          </p:cNvSpPr>
          <p:nvPr>
            <p:ph type="title"/>
          </p:nvPr>
        </p:nvSpPr>
        <p:spPr>
          <a:xfrm>
            <a:off x="546351" y="433545"/>
            <a:ext cx="11139854" cy="930447"/>
          </a:xfrm>
        </p:spPr>
        <p:txBody>
          <a:bodyPr vert="horz" lIns="91440" tIns="45720" rIns="91440" bIns="45720" rtlCol="0" anchor="b" anchorCtr="1">
            <a:normAutofit/>
          </a:bodyPr>
          <a:lstStyle/>
          <a:p>
            <a:pPr algn="ctr"/>
            <a:r>
              <a:rPr lang="en-US" sz="3400">
                <a:solidFill>
                  <a:srgbClr val="FFFFFF"/>
                </a:solidFill>
                <a:effectLst>
                  <a:outerShdw blurRad="38100" dist="38100" dir="2700000" algn="tl">
                    <a:srgbClr val="C0C0C0"/>
                  </a:outerShdw>
                </a:effectLst>
              </a:rPr>
              <a:t>Discretionary Corporate Responsibility (Babiak &amp; Wolfe, 2006)</a:t>
            </a:r>
          </a:p>
        </p:txBody>
      </p:sp>
      <p:cxnSp>
        <p:nvCxnSpPr>
          <p:cNvPr id="172043" name="Straight Connector 172042">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172036" name="Picture 4"/>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167640" y="2426818"/>
            <a:ext cx="3783771" cy="3997637"/>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2045" name="Straight Connector 172044">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172034" name="Picture 2" descr="865382075XL"/>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735448" y="2426818"/>
            <a:ext cx="4875167" cy="3997637"/>
          </a:xfrm>
          <a:prstGeom prst="rect">
            <a:avLst/>
          </a:prstGeom>
          <a:solidFill>
            <a:srgbClr val="FFFFFF">
              <a:shade val="85000"/>
            </a:srgbClr>
          </a:solidFill>
        </p:spPr>
      </p:pic>
    </p:spTree>
    <p:extLst>
      <p:ext uri="{BB962C8B-B14F-4D97-AF65-F5344CB8AC3E}">
        <p14:creationId xmlns:p14="http://schemas.microsoft.com/office/powerpoint/2010/main" val="386392309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4089" name="Rectangle 174088">
            <a:extLst>
              <a:ext uri="{FF2B5EF4-FFF2-40B4-BE49-F238E27FC236}">
                <a16:creationId xmlns:a16="http://schemas.microsoft.com/office/drawing/2014/main" id="{FABB624F-BF77-4AE1-B71D-2D681D4731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174083" name="Picture 3" descr="12"/>
          <p:cNvPicPr>
            <a:picLocks noChangeAspect="1" noChangeArrowheads="1"/>
          </p:cNvPicPr>
          <p:nvPr/>
        </p:nvPicPr>
        <p:blipFill rotWithShape="1">
          <a:blip r:embed="rId2">
            <a:extLst>
              <a:ext uri="{28A0092B-C50C-407E-A947-70E740481C1C}">
                <a14:useLocalDpi xmlns:a14="http://schemas.microsoft.com/office/drawing/2010/main" val="0"/>
              </a:ext>
            </a:extLst>
          </a:blip>
          <a:srcRect l="14152" r="1757" b="2"/>
          <a:stretch/>
        </p:blipFill>
        <p:spPr bwMode="auto">
          <a:xfrm>
            <a:off x="-1" y="10"/>
            <a:ext cx="7370057" cy="6857990"/>
          </a:xfrm>
          <a:prstGeom prst="rect">
            <a:avLst/>
          </a:prstGeom>
          <a:noFill/>
          <a:extLst>
            <a:ext uri="{909E8E84-426E-40DD-AFC4-6F175D3DCCD1}">
              <a14:hiddenFill xmlns:a14="http://schemas.microsoft.com/office/drawing/2010/main">
                <a:solidFill>
                  <a:srgbClr val="FFFFFF"/>
                </a:solidFill>
              </a14:hiddenFill>
            </a:ext>
          </a:extLst>
        </p:spPr>
      </p:pic>
      <p:pic>
        <p:nvPicPr>
          <p:cNvPr id="174084" name="Picture 4" descr="oakley-lance-armstrong-masthead"/>
          <p:cNvPicPr>
            <a:picLocks noChangeAspect="1" noChangeArrowheads="1"/>
          </p:cNvPicPr>
          <p:nvPr/>
        </p:nvPicPr>
        <p:blipFill rotWithShape="1">
          <a:blip r:embed="rId3">
            <a:extLst>
              <a:ext uri="{28A0092B-C50C-407E-A947-70E740481C1C}">
                <a14:useLocalDpi xmlns:a14="http://schemas.microsoft.com/office/drawing/2010/main" val="0"/>
              </a:ext>
            </a:extLst>
          </a:blip>
          <a:srcRect l="25816" r="8081" b="-1"/>
          <a:stretch/>
        </p:blipFill>
        <p:spPr bwMode="auto">
          <a:xfrm>
            <a:off x="7534656" y="1"/>
            <a:ext cx="4657344" cy="3346704"/>
          </a:xfrm>
          <a:prstGeom prst="rect">
            <a:avLst/>
          </a:prstGeom>
          <a:noFill/>
          <a:extLst>
            <a:ext uri="{909E8E84-426E-40DD-AFC4-6F175D3DCCD1}">
              <a14:hiddenFill xmlns:a14="http://schemas.microsoft.com/office/drawing/2010/main">
                <a:solidFill>
                  <a:srgbClr val="FFFFFF"/>
                </a:solidFill>
              </a14:hiddenFill>
            </a:ext>
          </a:extLst>
        </p:spPr>
      </p:pic>
      <p:pic>
        <p:nvPicPr>
          <p:cNvPr id="174082" name="Picture 2" descr="livestrong"/>
          <p:cNvPicPr>
            <a:picLocks noChangeAspect="1" noChangeArrowheads="1"/>
          </p:cNvPicPr>
          <p:nvPr/>
        </p:nvPicPr>
        <p:blipFill rotWithShape="1">
          <a:blip r:embed="rId4">
            <a:extLst>
              <a:ext uri="{28A0092B-C50C-407E-A947-70E740481C1C}">
                <a14:useLocalDpi xmlns:a14="http://schemas.microsoft.com/office/drawing/2010/main" val="0"/>
              </a:ext>
            </a:extLst>
          </a:blip>
          <a:srcRect t="6676" r="-3" b="11198"/>
          <a:stretch/>
        </p:blipFill>
        <p:spPr bwMode="auto">
          <a:xfrm>
            <a:off x="7534654" y="3511296"/>
            <a:ext cx="4657346" cy="33467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34290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0" fill="hold" nodeType="clickEffect">
                                  <p:stCondLst>
                                    <p:cond delay="0"/>
                                  </p:stCondLst>
                                  <p:childTnLst>
                                    <p:set>
                                      <p:cBhvr>
                                        <p:cTn id="6" dur="1" fill="hold">
                                          <p:stCondLst>
                                            <p:cond delay="0"/>
                                          </p:stCondLst>
                                        </p:cTn>
                                        <p:tgtEl>
                                          <p:spTgt spid="174083"/>
                                        </p:tgtEl>
                                        <p:attrNameLst>
                                          <p:attrName>style.visibility</p:attrName>
                                        </p:attrNameLst>
                                      </p:cBhvr>
                                      <p:to>
                                        <p:strVal val="visible"/>
                                      </p:to>
                                    </p:set>
                                    <p:anim calcmode="lin" valueType="num">
                                      <p:cBhvr>
                                        <p:cTn id="7" dur="500" fill="hold"/>
                                        <p:tgtEl>
                                          <p:spTgt spid="174083"/>
                                        </p:tgtEl>
                                        <p:attrNameLst>
                                          <p:attrName>ppt_w</p:attrName>
                                        </p:attrNameLst>
                                      </p:cBhvr>
                                      <p:tavLst>
                                        <p:tav tm="0">
                                          <p:val>
                                            <p:fltVal val="0"/>
                                          </p:val>
                                        </p:tav>
                                        <p:tav tm="100000">
                                          <p:val>
                                            <p:strVal val="#ppt_w"/>
                                          </p:val>
                                        </p:tav>
                                      </p:tavLst>
                                    </p:anim>
                                    <p:anim calcmode="lin" valueType="num">
                                      <p:cBhvr>
                                        <p:cTn id="8" dur="500" fill="hold"/>
                                        <p:tgtEl>
                                          <p:spTgt spid="174083"/>
                                        </p:tgtEl>
                                        <p:attrNameLst>
                                          <p:attrName>ppt_h</p:attrName>
                                        </p:attrNameLst>
                                      </p:cBhvr>
                                      <p:tavLst>
                                        <p:tav tm="0">
                                          <p:val>
                                            <p:fltVal val="0"/>
                                          </p:val>
                                        </p:tav>
                                        <p:tav tm="100000">
                                          <p:val>
                                            <p:strVal val="#ppt_h"/>
                                          </p:val>
                                        </p:tav>
                                      </p:tavLst>
                                    </p:anim>
                                    <p:animEffect transition="in" filter="fade">
                                      <p:cBhvr>
                                        <p:cTn id="9" dur="500"/>
                                        <p:tgtEl>
                                          <p:spTgt spid="174083"/>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53" presetClass="entr" presetSubtype="0" fill="hold" nodeType="clickEffect">
                                  <p:stCondLst>
                                    <p:cond delay="0"/>
                                  </p:stCondLst>
                                  <p:childTnLst>
                                    <p:set>
                                      <p:cBhvr>
                                        <p:cTn id="13" dur="1" fill="hold">
                                          <p:stCondLst>
                                            <p:cond delay="0"/>
                                          </p:stCondLst>
                                        </p:cTn>
                                        <p:tgtEl>
                                          <p:spTgt spid="174082"/>
                                        </p:tgtEl>
                                        <p:attrNameLst>
                                          <p:attrName>style.visibility</p:attrName>
                                        </p:attrNameLst>
                                      </p:cBhvr>
                                      <p:to>
                                        <p:strVal val="visible"/>
                                      </p:to>
                                    </p:set>
                                    <p:anim calcmode="lin" valueType="num">
                                      <p:cBhvr>
                                        <p:cTn id="14" dur="500" fill="hold"/>
                                        <p:tgtEl>
                                          <p:spTgt spid="174082"/>
                                        </p:tgtEl>
                                        <p:attrNameLst>
                                          <p:attrName>ppt_w</p:attrName>
                                        </p:attrNameLst>
                                      </p:cBhvr>
                                      <p:tavLst>
                                        <p:tav tm="0">
                                          <p:val>
                                            <p:fltVal val="0"/>
                                          </p:val>
                                        </p:tav>
                                        <p:tav tm="100000">
                                          <p:val>
                                            <p:strVal val="#ppt_w"/>
                                          </p:val>
                                        </p:tav>
                                      </p:tavLst>
                                    </p:anim>
                                    <p:anim calcmode="lin" valueType="num">
                                      <p:cBhvr>
                                        <p:cTn id="15" dur="500" fill="hold"/>
                                        <p:tgtEl>
                                          <p:spTgt spid="174082"/>
                                        </p:tgtEl>
                                        <p:attrNameLst>
                                          <p:attrName>ppt_h</p:attrName>
                                        </p:attrNameLst>
                                      </p:cBhvr>
                                      <p:tavLst>
                                        <p:tav tm="0">
                                          <p:val>
                                            <p:fltVal val="0"/>
                                          </p:val>
                                        </p:tav>
                                        <p:tav tm="100000">
                                          <p:val>
                                            <p:strVal val="#ppt_h"/>
                                          </p:val>
                                        </p:tav>
                                      </p:tavLst>
                                    </p:anim>
                                    <p:animEffect transition="in" filter="fade">
                                      <p:cBhvr>
                                        <p:cTn id="16" dur="500"/>
                                        <p:tgtEl>
                                          <p:spTgt spid="174082"/>
                                        </p:tgtEl>
                                      </p:cBhvr>
                                    </p:animEffect>
                                  </p:childTnLst>
                                </p:cTn>
                              </p:par>
                              <p:par>
                                <p:cTn id="17" presetID="53" presetClass="entr" presetSubtype="0" fill="hold" nodeType="withEffect">
                                  <p:stCondLst>
                                    <p:cond delay="0"/>
                                  </p:stCondLst>
                                  <p:childTnLst>
                                    <p:set>
                                      <p:cBhvr>
                                        <p:cTn id="18" dur="1" fill="hold">
                                          <p:stCondLst>
                                            <p:cond delay="0"/>
                                          </p:stCondLst>
                                        </p:cTn>
                                        <p:tgtEl>
                                          <p:spTgt spid="174084"/>
                                        </p:tgtEl>
                                        <p:attrNameLst>
                                          <p:attrName>style.visibility</p:attrName>
                                        </p:attrNameLst>
                                      </p:cBhvr>
                                      <p:to>
                                        <p:strVal val="visible"/>
                                      </p:to>
                                    </p:set>
                                    <p:anim calcmode="lin" valueType="num">
                                      <p:cBhvr>
                                        <p:cTn id="19" dur="500" fill="hold"/>
                                        <p:tgtEl>
                                          <p:spTgt spid="174084"/>
                                        </p:tgtEl>
                                        <p:attrNameLst>
                                          <p:attrName>ppt_w</p:attrName>
                                        </p:attrNameLst>
                                      </p:cBhvr>
                                      <p:tavLst>
                                        <p:tav tm="0">
                                          <p:val>
                                            <p:fltVal val="0"/>
                                          </p:val>
                                        </p:tav>
                                        <p:tav tm="100000">
                                          <p:val>
                                            <p:strVal val="#ppt_w"/>
                                          </p:val>
                                        </p:tav>
                                      </p:tavLst>
                                    </p:anim>
                                    <p:anim calcmode="lin" valueType="num">
                                      <p:cBhvr>
                                        <p:cTn id="20" dur="500" fill="hold"/>
                                        <p:tgtEl>
                                          <p:spTgt spid="174084"/>
                                        </p:tgtEl>
                                        <p:attrNameLst>
                                          <p:attrName>ppt_h</p:attrName>
                                        </p:attrNameLst>
                                      </p:cBhvr>
                                      <p:tavLst>
                                        <p:tav tm="0">
                                          <p:val>
                                            <p:fltVal val="0"/>
                                          </p:val>
                                        </p:tav>
                                        <p:tav tm="100000">
                                          <p:val>
                                            <p:strVal val="#ppt_h"/>
                                          </p:val>
                                        </p:tav>
                                      </p:tavLst>
                                    </p:anim>
                                    <p:animEffect transition="in" filter="fade">
                                      <p:cBhvr>
                                        <p:cTn id="21" dur="500"/>
                                        <p:tgtEl>
                                          <p:spTgt spid="1740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5106" name="Picture 2" descr="nba_care_tour_global"/>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787991" y="643467"/>
            <a:ext cx="3524061" cy="2475653"/>
          </a:xfrm>
          <a:prstGeom prst="rect">
            <a:avLst/>
          </a:prstGeom>
          <a:noFill/>
          <a:extLst>
            <a:ext uri="{909E8E84-426E-40DD-AFC4-6F175D3DCCD1}">
              <a14:hiddenFill xmlns:a14="http://schemas.microsoft.com/office/drawing/2010/main">
                <a:solidFill>
                  <a:srgbClr val="FFFFFF"/>
                </a:solidFill>
              </a14:hiddenFill>
            </a:ext>
          </a:extLst>
        </p:spPr>
      </p:pic>
      <p:pic>
        <p:nvPicPr>
          <p:cNvPr id="175107" name="Picture 3" descr="W020070806474891304741"/>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22549" y="3769702"/>
            <a:ext cx="3854945" cy="2428615"/>
          </a:xfrm>
          <a:prstGeom prst="rect">
            <a:avLst/>
          </a:prstGeom>
          <a:noFill/>
          <a:extLst>
            <a:ext uri="{909E8E84-426E-40DD-AFC4-6F175D3DCCD1}">
              <a14:hiddenFill xmlns:a14="http://schemas.microsoft.com/office/drawing/2010/main">
                <a:solidFill>
                  <a:srgbClr val="FFFFFF"/>
                </a:solidFill>
              </a14:hiddenFill>
            </a:ext>
          </a:extLst>
        </p:spPr>
      </p:pic>
      <p:pic>
        <p:nvPicPr>
          <p:cNvPr id="175108" name="Picture 4" descr="nba+stay+in+school130"/>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5211177" y="650497"/>
            <a:ext cx="6277257" cy="5571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644111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0" fill="hold" nodeType="clickEffect">
                                  <p:stCondLst>
                                    <p:cond delay="0"/>
                                  </p:stCondLst>
                                  <p:childTnLst>
                                    <p:set>
                                      <p:cBhvr>
                                        <p:cTn id="6" dur="1" fill="hold">
                                          <p:stCondLst>
                                            <p:cond delay="0"/>
                                          </p:stCondLst>
                                        </p:cTn>
                                        <p:tgtEl>
                                          <p:spTgt spid="175106"/>
                                        </p:tgtEl>
                                        <p:attrNameLst>
                                          <p:attrName>style.visibility</p:attrName>
                                        </p:attrNameLst>
                                      </p:cBhvr>
                                      <p:to>
                                        <p:strVal val="visible"/>
                                      </p:to>
                                    </p:set>
                                    <p:anim calcmode="lin" valueType="num">
                                      <p:cBhvr>
                                        <p:cTn id="7" dur="500" fill="hold"/>
                                        <p:tgtEl>
                                          <p:spTgt spid="175106"/>
                                        </p:tgtEl>
                                        <p:attrNameLst>
                                          <p:attrName>ppt_w</p:attrName>
                                        </p:attrNameLst>
                                      </p:cBhvr>
                                      <p:tavLst>
                                        <p:tav tm="0">
                                          <p:val>
                                            <p:fltVal val="0"/>
                                          </p:val>
                                        </p:tav>
                                        <p:tav tm="100000">
                                          <p:val>
                                            <p:strVal val="#ppt_w"/>
                                          </p:val>
                                        </p:tav>
                                      </p:tavLst>
                                    </p:anim>
                                    <p:anim calcmode="lin" valueType="num">
                                      <p:cBhvr>
                                        <p:cTn id="8" dur="500" fill="hold"/>
                                        <p:tgtEl>
                                          <p:spTgt spid="175106"/>
                                        </p:tgtEl>
                                        <p:attrNameLst>
                                          <p:attrName>ppt_h</p:attrName>
                                        </p:attrNameLst>
                                      </p:cBhvr>
                                      <p:tavLst>
                                        <p:tav tm="0">
                                          <p:val>
                                            <p:fltVal val="0"/>
                                          </p:val>
                                        </p:tav>
                                        <p:tav tm="100000">
                                          <p:val>
                                            <p:strVal val="#ppt_h"/>
                                          </p:val>
                                        </p:tav>
                                      </p:tavLst>
                                    </p:anim>
                                    <p:animEffect transition="in" filter="fade">
                                      <p:cBhvr>
                                        <p:cTn id="9" dur="500"/>
                                        <p:tgtEl>
                                          <p:spTgt spid="175106"/>
                                        </p:tgtEl>
                                      </p:cBhvr>
                                    </p:animEffect>
                                  </p:childTnLst>
                                </p:cTn>
                              </p:par>
                              <p:par>
                                <p:cTn id="10" presetID="53" presetClass="entr" presetSubtype="0" fill="hold" nodeType="withEffect">
                                  <p:stCondLst>
                                    <p:cond delay="0"/>
                                  </p:stCondLst>
                                  <p:childTnLst>
                                    <p:set>
                                      <p:cBhvr>
                                        <p:cTn id="11" dur="1" fill="hold">
                                          <p:stCondLst>
                                            <p:cond delay="0"/>
                                          </p:stCondLst>
                                        </p:cTn>
                                        <p:tgtEl>
                                          <p:spTgt spid="175107"/>
                                        </p:tgtEl>
                                        <p:attrNameLst>
                                          <p:attrName>style.visibility</p:attrName>
                                        </p:attrNameLst>
                                      </p:cBhvr>
                                      <p:to>
                                        <p:strVal val="visible"/>
                                      </p:to>
                                    </p:set>
                                    <p:anim calcmode="lin" valueType="num">
                                      <p:cBhvr>
                                        <p:cTn id="12" dur="500" fill="hold"/>
                                        <p:tgtEl>
                                          <p:spTgt spid="175107"/>
                                        </p:tgtEl>
                                        <p:attrNameLst>
                                          <p:attrName>ppt_w</p:attrName>
                                        </p:attrNameLst>
                                      </p:cBhvr>
                                      <p:tavLst>
                                        <p:tav tm="0">
                                          <p:val>
                                            <p:fltVal val="0"/>
                                          </p:val>
                                        </p:tav>
                                        <p:tav tm="100000">
                                          <p:val>
                                            <p:strVal val="#ppt_w"/>
                                          </p:val>
                                        </p:tav>
                                      </p:tavLst>
                                    </p:anim>
                                    <p:anim calcmode="lin" valueType="num">
                                      <p:cBhvr>
                                        <p:cTn id="13" dur="500" fill="hold"/>
                                        <p:tgtEl>
                                          <p:spTgt spid="175107"/>
                                        </p:tgtEl>
                                        <p:attrNameLst>
                                          <p:attrName>ppt_h</p:attrName>
                                        </p:attrNameLst>
                                      </p:cBhvr>
                                      <p:tavLst>
                                        <p:tav tm="0">
                                          <p:val>
                                            <p:fltVal val="0"/>
                                          </p:val>
                                        </p:tav>
                                        <p:tav tm="100000">
                                          <p:val>
                                            <p:strVal val="#ppt_h"/>
                                          </p:val>
                                        </p:tav>
                                      </p:tavLst>
                                    </p:anim>
                                    <p:animEffect transition="in" filter="fade">
                                      <p:cBhvr>
                                        <p:cTn id="14" dur="500"/>
                                        <p:tgtEl>
                                          <p:spTgt spid="175107"/>
                                        </p:tgtEl>
                                      </p:cBhvr>
                                    </p:animEffect>
                                  </p:childTnLst>
                                </p:cTn>
                              </p:par>
                              <p:par>
                                <p:cTn id="15" presetID="53" presetClass="entr" presetSubtype="0" fill="hold" nodeType="withEffect">
                                  <p:stCondLst>
                                    <p:cond delay="0"/>
                                  </p:stCondLst>
                                  <p:childTnLst>
                                    <p:set>
                                      <p:cBhvr>
                                        <p:cTn id="16" dur="1" fill="hold">
                                          <p:stCondLst>
                                            <p:cond delay="0"/>
                                          </p:stCondLst>
                                        </p:cTn>
                                        <p:tgtEl>
                                          <p:spTgt spid="175108"/>
                                        </p:tgtEl>
                                        <p:attrNameLst>
                                          <p:attrName>style.visibility</p:attrName>
                                        </p:attrNameLst>
                                      </p:cBhvr>
                                      <p:to>
                                        <p:strVal val="visible"/>
                                      </p:to>
                                    </p:set>
                                    <p:anim calcmode="lin" valueType="num">
                                      <p:cBhvr>
                                        <p:cTn id="17" dur="500" fill="hold"/>
                                        <p:tgtEl>
                                          <p:spTgt spid="175108"/>
                                        </p:tgtEl>
                                        <p:attrNameLst>
                                          <p:attrName>ppt_w</p:attrName>
                                        </p:attrNameLst>
                                      </p:cBhvr>
                                      <p:tavLst>
                                        <p:tav tm="0">
                                          <p:val>
                                            <p:fltVal val="0"/>
                                          </p:val>
                                        </p:tav>
                                        <p:tav tm="100000">
                                          <p:val>
                                            <p:strVal val="#ppt_w"/>
                                          </p:val>
                                        </p:tav>
                                      </p:tavLst>
                                    </p:anim>
                                    <p:anim calcmode="lin" valueType="num">
                                      <p:cBhvr>
                                        <p:cTn id="18" dur="500" fill="hold"/>
                                        <p:tgtEl>
                                          <p:spTgt spid="175108"/>
                                        </p:tgtEl>
                                        <p:attrNameLst>
                                          <p:attrName>ppt_h</p:attrName>
                                        </p:attrNameLst>
                                      </p:cBhvr>
                                      <p:tavLst>
                                        <p:tav tm="0">
                                          <p:val>
                                            <p:fltVal val="0"/>
                                          </p:val>
                                        </p:tav>
                                        <p:tav tm="100000">
                                          <p:val>
                                            <p:strVal val="#ppt_h"/>
                                          </p:val>
                                        </p:tav>
                                      </p:tavLst>
                                    </p:anim>
                                    <p:animEffect transition="in" filter="fade">
                                      <p:cBhvr>
                                        <p:cTn id="19" dur="500"/>
                                        <p:tgtEl>
                                          <p:spTgt spid="175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Média en ligne 1" title="All-Access: NBA Cares All-Star Day of Service">
            <a:hlinkClick r:id="" action="ppaction://media"/>
            <a:extLst>
              <a:ext uri="{FF2B5EF4-FFF2-40B4-BE49-F238E27FC236}">
                <a16:creationId xmlns:a16="http://schemas.microsoft.com/office/drawing/2014/main" id="{AFD6DBCA-5AD2-4943-A9E7-4162FC9BA7EC}"/>
              </a:ext>
            </a:extLst>
          </p:cNvPr>
          <p:cNvPicPr>
            <a:picLocks noRot="1" noChangeAspect="1"/>
          </p:cNvPicPr>
          <p:nvPr>
            <a:videoFile r:link="rId1"/>
          </p:nvPr>
        </p:nvPicPr>
        <p:blipFill>
          <a:blip r:embed="rId3"/>
          <a:stretch>
            <a:fillRect/>
          </a:stretch>
        </p:blipFill>
        <p:spPr>
          <a:xfrm>
            <a:off x="0" y="-15902"/>
            <a:ext cx="12192000" cy="6888480"/>
          </a:xfrm>
          <a:prstGeom prst="rect">
            <a:avLst/>
          </a:prstGeom>
        </p:spPr>
      </p:pic>
    </p:spTree>
    <p:extLst>
      <p:ext uri="{BB962C8B-B14F-4D97-AF65-F5344CB8AC3E}">
        <p14:creationId xmlns:p14="http://schemas.microsoft.com/office/powerpoint/2010/main" val="29751192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Média en ligne 1" title="Sport Sponsorship in 60 Seconds">
            <a:hlinkClick r:id="" action="ppaction://media"/>
            <a:extLst>
              <a:ext uri="{FF2B5EF4-FFF2-40B4-BE49-F238E27FC236}">
                <a16:creationId xmlns:a16="http://schemas.microsoft.com/office/drawing/2014/main" id="{CFB5722A-E45F-4A2E-9AD1-89CB3821606B}"/>
              </a:ext>
            </a:extLst>
          </p:cNvPr>
          <p:cNvPicPr>
            <a:picLocks noRot="1" noChangeAspect="1"/>
          </p:cNvPicPr>
          <p:nvPr>
            <a:videoFile r:link="rId1"/>
          </p:nvPr>
        </p:nvPicPr>
        <p:blipFill>
          <a:blip r:embed="rId3"/>
          <a:stretch>
            <a:fillRect/>
          </a:stretch>
        </p:blipFill>
        <p:spPr>
          <a:xfrm>
            <a:off x="0" y="0"/>
            <a:ext cx="12192000" cy="6888480"/>
          </a:xfrm>
          <a:prstGeom prst="rect">
            <a:avLst/>
          </a:prstGeom>
        </p:spPr>
      </p:pic>
    </p:spTree>
    <p:extLst>
      <p:ext uri="{BB962C8B-B14F-4D97-AF65-F5344CB8AC3E}">
        <p14:creationId xmlns:p14="http://schemas.microsoft.com/office/powerpoint/2010/main" val="1997754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6130" name="Picture 2" descr="360-tou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1"/>
            <a:ext cx="9144000" cy="3324225"/>
          </a:xfrm>
          <a:prstGeom prst="rect">
            <a:avLst/>
          </a:prstGeom>
          <a:noFill/>
          <a:extLst>
            <a:ext uri="{909E8E84-426E-40DD-AFC4-6F175D3DCCD1}">
              <a14:hiddenFill xmlns:a14="http://schemas.microsoft.com/office/drawing/2010/main">
                <a:solidFill>
                  <a:srgbClr val="FFFFFF"/>
                </a:solidFill>
              </a14:hiddenFill>
            </a:ext>
          </a:extLst>
        </p:spPr>
      </p:pic>
      <p:pic>
        <p:nvPicPr>
          <p:cNvPr id="176131" name="Picture 3" descr="heartsmin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11451" y="3276600"/>
            <a:ext cx="6804025" cy="3581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577102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7159" name="Rectangle 17715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177154" name="Picture 2" descr="barca2gr"/>
          <p:cNvPicPr>
            <a:picLocks noChangeAspect="1" noChangeArrowheads="1"/>
          </p:cNvPicPr>
          <p:nvPr/>
        </p:nvPicPr>
        <p:blipFill rotWithShape="1">
          <a:blip r:embed="rId2">
            <a:extLst>
              <a:ext uri="{28A0092B-C50C-407E-A947-70E740481C1C}">
                <a14:useLocalDpi xmlns:a14="http://schemas.microsoft.com/office/drawing/2010/main" val="0"/>
              </a:ext>
            </a:extLst>
          </a:blip>
          <a:srcRect t="4037" b="16473"/>
          <a:stretch/>
        </p:blipFill>
        <p:spPr bwMode="auto">
          <a:xfrm>
            <a:off x="20" y="1282"/>
            <a:ext cx="12191980" cy="6856718"/>
          </a:xfrm>
          <a:prstGeom prst="rect">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145696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Média en ligne 1" title="Budweiser: One Team">
            <a:hlinkClick r:id="" action="ppaction://media"/>
            <a:extLst>
              <a:ext uri="{FF2B5EF4-FFF2-40B4-BE49-F238E27FC236}">
                <a16:creationId xmlns:a16="http://schemas.microsoft.com/office/drawing/2014/main" id="{7F3F80D8-A48F-469C-AC3D-46C267EED082}"/>
              </a:ext>
            </a:extLst>
          </p:cNvPr>
          <p:cNvPicPr>
            <a:picLocks noRot="1" noChangeAspect="1"/>
          </p:cNvPicPr>
          <p:nvPr>
            <a:videoFile r:link="rId1"/>
          </p:nvPr>
        </p:nvPicPr>
        <p:blipFill>
          <a:blip r:embed="rId3"/>
          <a:stretch>
            <a:fillRect/>
          </a:stretch>
        </p:blipFill>
        <p:spPr>
          <a:xfrm>
            <a:off x="0" y="0"/>
            <a:ext cx="12192000" cy="6888480"/>
          </a:xfrm>
          <a:prstGeom prst="rect">
            <a:avLst/>
          </a:prstGeom>
        </p:spPr>
      </p:pic>
    </p:spTree>
    <p:extLst>
      <p:ext uri="{BB962C8B-B14F-4D97-AF65-F5344CB8AC3E}">
        <p14:creationId xmlns:p14="http://schemas.microsoft.com/office/powerpoint/2010/main" val="13536168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9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Diagram 2"/>
          <p:cNvGrpSpPr>
            <a:grpSpLocks/>
          </p:cNvGrpSpPr>
          <p:nvPr/>
        </p:nvGrpSpPr>
        <p:grpSpPr bwMode="auto">
          <a:xfrm>
            <a:off x="766762" y="404814"/>
            <a:ext cx="10874376" cy="6092825"/>
            <a:chOff x="272" y="1001"/>
            <a:chExt cx="5171" cy="2812"/>
          </a:xfrm>
        </p:grpSpPr>
        <p:graphicFrame>
          <p:nvGraphicFramePr>
            <p:cNvPr id="5" name="Diagramme 4"/>
            <p:cNvGraphicFramePr/>
            <p:nvPr/>
          </p:nvGraphicFramePr>
          <p:xfrm>
            <a:off x="272" y="1001"/>
            <a:ext cx="5171" cy="28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 Box 10"/>
            <p:cNvSpPr txBox="1">
              <a:spLocks noChangeArrowheads="1"/>
            </p:cNvSpPr>
            <p:nvPr/>
          </p:nvSpPr>
          <p:spPr bwMode="auto">
            <a:xfrm>
              <a:off x="4073" y="1566"/>
              <a:ext cx="548" cy="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spAutoFit/>
            </a:bodyPr>
            <a:lstStyle/>
            <a:p>
              <a:pPr algn="ctr" defTabSz="914400" fontAlgn="base">
                <a:spcBef>
                  <a:spcPct val="50000"/>
                </a:spcBef>
                <a:spcAft>
                  <a:spcPct val="0"/>
                </a:spcAft>
              </a:pPr>
              <a:r>
                <a:rPr lang="fr-FR" dirty="0">
                  <a:latin typeface="Garamond" pitchFamily="18" charset="0"/>
                </a:rPr>
                <a:t>Donation</a:t>
              </a:r>
            </a:p>
          </p:txBody>
        </p:sp>
        <p:sp>
          <p:nvSpPr>
            <p:cNvPr id="4" name="Text Box 11"/>
            <p:cNvSpPr txBox="1">
              <a:spLocks noChangeArrowheads="1"/>
            </p:cNvSpPr>
            <p:nvPr/>
          </p:nvSpPr>
          <p:spPr bwMode="auto">
            <a:xfrm>
              <a:off x="889" y="1533"/>
              <a:ext cx="753" cy="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spAutoFit/>
            </a:bodyPr>
            <a:lstStyle/>
            <a:p>
              <a:pPr algn="ctr" defTabSz="914400" fontAlgn="base">
                <a:spcBef>
                  <a:spcPct val="50000"/>
                </a:spcBef>
                <a:spcAft>
                  <a:spcPct val="0"/>
                </a:spcAft>
              </a:pPr>
              <a:r>
                <a:rPr lang="fr-FR" dirty="0" err="1">
                  <a:latin typeface="Garamond" pitchFamily="18" charset="0"/>
                </a:rPr>
                <a:t>Classical</a:t>
              </a:r>
              <a:endParaRPr lang="fr-FR" dirty="0">
                <a:latin typeface="Garamond" pitchFamily="18" charset="0"/>
              </a:endParaRPr>
            </a:p>
            <a:p>
              <a:pPr algn="ctr" defTabSz="914400" fontAlgn="base">
                <a:spcBef>
                  <a:spcPct val="50000"/>
                </a:spcBef>
                <a:spcAft>
                  <a:spcPct val="0"/>
                </a:spcAft>
              </a:pPr>
              <a:r>
                <a:rPr lang="fr-FR" dirty="0">
                  <a:latin typeface="Garamond" pitchFamily="18" charset="0"/>
                </a:rPr>
                <a:t>Commercial</a:t>
              </a:r>
            </a:p>
            <a:p>
              <a:pPr algn="ctr" defTabSz="914400" fontAlgn="base">
                <a:spcBef>
                  <a:spcPct val="50000"/>
                </a:spcBef>
                <a:spcAft>
                  <a:spcPct val="0"/>
                </a:spcAft>
              </a:pPr>
              <a:r>
                <a:rPr lang="fr-FR" dirty="0" err="1">
                  <a:latin typeface="Garamond" pitchFamily="18" charset="0"/>
                </a:rPr>
                <a:t>Sponsorship</a:t>
              </a:r>
              <a:endParaRPr lang="fr-FR" dirty="0">
                <a:latin typeface="Garamond" pitchFamily="18" charset="0"/>
              </a:endParaRPr>
            </a:p>
          </p:txBody>
        </p:sp>
      </p:grpSp>
      <p:sp>
        <p:nvSpPr>
          <p:cNvPr id="179210" name="Text Box 10"/>
          <p:cNvSpPr txBox="1">
            <a:spLocks noChangeArrowheads="1"/>
          </p:cNvSpPr>
          <p:nvPr/>
        </p:nvSpPr>
        <p:spPr bwMode="auto">
          <a:xfrm>
            <a:off x="5591175" y="3068638"/>
            <a:ext cx="1081088"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fr-FR" b="1">
                <a:latin typeface="Tahoma" pitchFamily="34" charset="0"/>
                <a:cs typeface="Arial" charset="0"/>
              </a:rPr>
              <a:t>CAUSE</a:t>
            </a:r>
          </a:p>
        </p:txBody>
      </p:sp>
      <p:sp>
        <p:nvSpPr>
          <p:cNvPr id="179211" name="Line 11"/>
          <p:cNvSpPr>
            <a:spLocks noChangeShapeType="1"/>
          </p:cNvSpPr>
          <p:nvPr/>
        </p:nvSpPr>
        <p:spPr bwMode="auto">
          <a:xfrm flipV="1">
            <a:off x="6167438" y="4292601"/>
            <a:ext cx="0" cy="136842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79212" name="Text Box 12"/>
          <p:cNvSpPr txBox="1">
            <a:spLocks noChangeArrowheads="1"/>
          </p:cNvSpPr>
          <p:nvPr/>
        </p:nvSpPr>
        <p:spPr bwMode="auto">
          <a:xfrm>
            <a:off x="5591176" y="5734050"/>
            <a:ext cx="115252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fr-FR" dirty="0"/>
              <a:t>Donation</a:t>
            </a:r>
          </a:p>
        </p:txBody>
      </p:sp>
      <p:sp>
        <p:nvSpPr>
          <p:cNvPr id="179214" name="Line 14"/>
          <p:cNvSpPr>
            <a:spLocks noChangeShapeType="1"/>
          </p:cNvSpPr>
          <p:nvPr/>
        </p:nvSpPr>
        <p:spPr bwMode="auto">
          <a:xfrm flipH="1">
            <a:off x="6959600" y="2205038"/>
            <a:ext cx="1728788" cy="7921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79216" name="Line 16"/>
          <p:cNvSpPr>
            <a:spLocks noChangeShapeType="1"/>
          </p:cNvSpPr>
          <p:nvPr/>
        </p:nvSpPr>
        <p:spPr bwMode="auto">
          <a:xfrm>
            <a:off x="3792539" y="2060576"/>
            <a:ext cx="1582737" cy="93662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Tree>
    <p:extLst>
      <p:ext uri="{BB962C8B-B14F-4D97-AF65-F5344CB8AC3E}">
        <p14:creationId xmlns:p14="http://schemas.microsoft.com/office/powerpoint/2010/main" val="373137791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0234" name="Rectangle 180233">
            <a:extLst>
              <a:ext uri="{FF2B5EF4-FFF2-40B4-BE49-F238E27FC236}">
                <a16:creationId xmlns:a16="http://schemas.microsoft.com/office/drawing/2014/main" id="{9228552E-C8B1-4A80-8448-0787CE0FC7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226" name="Rectangle 2"/>
          <p:cNvSpPr>
            <a:spLocks noGrp="1" noRot="1" noChangeArrowheads="1"/>
          </p:cNvSpPr>
          <p:nvPr>
            <p:ph type="title"/>
          </p:nvPr>
        </p:nvSpPr>
        <p:spPr>
          <a:xfrm>
            <a:off x="838200" y="365125"/>
            <a:ext cx="10515600" cy="1325563"/>
          </a:xfrm>
        </p:spPr>
        <p:txBody>
          <a:bodyPr>
            <a:normAutofit/>
          </a:bodyPr>
          <a:lstStyle/>
          <a:p>
            <a:r>
              <a:rPr lang="fr-FR">
                <a:solidFill>
                  <a:srgbClr val="FFFFFF"/>
                </a:solidFill>
              </a:rPr>
              <a:t>Process</a:t>
            </a:r>
          </a:p>
        </p:txBody>
      </p:sp>
      <p:graphicFrame>
        <p:nvGraphicFramePr>
          <p:cNvPr id="180229" name="Rectangle 3">
            <a:extLst>
              <a:ext uri="{FF2B5EF4-FFF2-40B4-BE49-F238E27FC236}">
                <a16:creationId xmlns:a16="http://schemas.microsoft.com/office/drawing/2014/main" id="{019E4E17-E9EC-4990-B016-79FB393BE8C8}"/>
              </a:ext>
            </a:extLst>
          </p:cNvPr>
          <p:cNvGraphicFramePr/>
          <p:nvPr>
            <p:extLst>
              <p:ext uri="{D42A27DB-BD31-4B8C-83A1-F6EECF244321}">
                <p14:modId xmlns:p14="http://schemas.microsoft.com/office/powerpoint/2010/main" val="393523088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31177406"/>
      </p:ext>
    </p:extLst>
  </p:cSld>
  <p:clrMapOvr>
    <a:overrideClrMapping bg1="dk1" tx1="lt1" bg2="dk2" tx2="lt2" accent1="accent1" accent2="accent2" accent3="accent3" accent4="accent4" accent5="accent5" accent6="accent6" hlink="hlink" folHlink="folHlink"/>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9754" name="Rectangle 159753">
            <a:extLst>
              <a:ext uri="{FF2B5EF4-FFF2-40B4-BE49-F238E27FC236}">
                <a16:creationId xmlns:a16="http://schemas.microsoft.com/office/drawing/2014/main" id="{C1DD1A8A-57D5-4A81-AD04-532B043C5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9750" name="Picture 159749" descr="A 3D pattern of ring shapes connected by lines">
            <a:extLst>
              <a:ext uri="{FF2B5EF4-FFF2-40B4-BE49-F238E27FC236}">
                <a16:creationId xmlns:a16="http://schemas.microsoft.com/office/drawing/2014/main" id="{4D1C2FA8-A839-D831-8D20-2E23D7282C47}"/>
              </a:ext>
            </a:extLst>
          </p:cNvPr>
          <p:cNvPicPr>
            <a:picLocks noChangeAspect="1"/>
          </p:cNvPicPr>
          <p:nvPr/>
        </p:nvPicPr>
        <p:blipFill rotWithShape="1">
          <a:blip r:embed="rId2"/>
          <a:srcRect/>
          <a:stretch/>
        </p:blipFill>
        <p:spPr>
          <a:xfrm>
            <a:off x="-3047" y="10"/>
            <a:ext cx="12191999" cy="6857990"/>
          </a:xfrm>
          <a:prstGeom prst="rect">
            <a:avLst/>
          </a:prstGeom>
        </p:spPr>
      </p:pic>
      <p:sp>
        <p:nvSpPr>
          <p:cNvPr id="159756" name="Rectangle 159755">
            <a:extLst>
              <a:ext uri="{FF2B5EF4-FFF2-40B4-BE49-F238E27FC236}">
                <a16:creationId xmlns:a16="http://schemas.microsoft.com/office/drawing/2014/main" id="{007891EC-4501-44ED-A8C8-B11B6DB767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7602"/>
            <a:ext cx="12191999" cy="3162146"/>
          </a:xfrm>
          <a:prstGeom prst="rect">
            <a:avLst/>
          </a:prstGeom>
          <a:gradFill flip="none" rotWithShape="1">
            <a:gsLst>
              <a:gs pos="0">
                <a:srgbClr val="000000">
                  <a:alpha val="0"/>
                </a:srgbClr>
              </a:gs>
              <a:gs pos="25000">
                <a:srgbClr val="000000">
                  <a:alpha val="15000"/>
                </a:srgbClr>
              </a:gs>
              <a:gs pos="75000">
                <a:srgbClr val="000000">
                  <a:alpha val="15000"/>
                </a:srgbClr>
              </a:gs>
              <a:gs pos="50000">
                <a:srgbClr val="000000">
                  <a:alpha val="30000"/>
                </a:srgbClr>
              </a:gs>
              <a:gs pos="10000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746" name="Rectangle 2"/>
          <p:cNvSpPr>
            <a:spLocks noGrp="1" noChangeArrowheads="1"/>
          </p:cNvSpPr>
          <p:nvPr>
            <p:ph type="ctrTitle"/>
          </p:nvPr>
        </p:nvSpPr>
        <p:spPr>
          <a:xfrm>
            <a:off x="1097280" y="325550"/>
            <a:ext cx="10058400" cy="3574778"/>
          </a:xfrm>
          <a:effectLst>
            <a:outerShdw blurRad="50800" dist="38100" dir="2700000" algn="tl" rotWithShape="0">
              <a:prstClr val="black">
                <a:alpha val="40000"/>
              </a:prstClr>
            </a:outerShdw>
          </a:effectLst>
        </p:spPr>
        <p:txBody>
          <a:bodyPr>
            <a:normAutofit/>
          </a:bodyPr>
          <a:lstStyle/>
          <a:p>
            <a:pPr eaLnBrk="1" hangingPunct="1">
              <a:defRPr/>
            </a:pPr>
            <a:r>
              <a:rPr lang="fr-FR" sz="5200" b="1">
                <a:solidFill>
                  <a:srgbClr val="FFFFFF"/>
                </a:solidFill>
              </a:rPr>
              <a:t>The core objective : create sponsors network = cross partnership</a:t>
            </a:r>
          </a:p>
        </p:txBody>
      </p:sp>
      <p:sp>
        <p:nvSpPr>
          <p:cNvPr id="159748" name="Rectangle 4"/>
          <p:cNvSpPr>
            <a:spLocks noGrp="1" noChangeArrowheads="1"/>
          </p:cNvSpPr>
          <p:nvPr>
            <p:ph type="subTitle" idx="1"/>
          </p:nvPr>
        </p:nvSpPr>
        <p:spPr>
          <a:xfrm>
            <a:off x="1100051" y="4072043"/>
            <a:ext cx="10058400" cy="1282707"/>
          </a:xfrm>
          <a:effectLst>
            <a:outerShdw blurRad="50800" dist="38100" dir="2700000" algn="tl" rotWithShape="0">
              <a:prstClr val="black">
                <a:alpha val="40000"/>
              </a:prstClr>
            </a:outerShdw>
          </a:effectLst>
        </p:spPr>
        <p:txBody>
          <a:bodyPr>
            <a:normAutofit/>
          </a:bodyPr>
          <a:lstStyle/>
          <a:p>
            <a:pPr eaLnBrk="1" hangingPunct="1">
              <a:defRPr/>
            </a:pPr>
            <a:r>
              <a:rPr lang="fr-FR">
                <a:solidFill>
                  <a:srgbClr val="FFFFFF"/>
                </a:solidFill>
              </a:rPr>
              <a:t>HOW ?</a:t>
            </a:r>
          </a:p>
        </p:txBody>
      </p:sp>
    </p:spTree>
    <p:extLst>
      <p:ext uri="{BB962C8B-B14F-4D97-AF65-F5344CB8AC3E}">
        <p14:creationId xmlns:p14="http://schemas.microsoft.com/office/powerpoint/2010/main" val="39564008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iterate>
                                    <p:tmPct val="10000"/>
                                  </p:iterate>
                                  <p:childTnLst>
                                    <p:set>
                                      <p:cBhvr>
                                        <p:cTn id="6" dur="1" fill="hold">
                                          <p:stCondLst>
                                            <p:cond delay="0"/>
                                          </p:stCondLst>
                                        </p:cTn>
                                        <p:tgtEl>
                                          <p:spTgt spid="159748">
                                            <p:txEl>
                                              <p:pRg st="0" end="0"/>
                                            </p:txEl>
                                          </p:spTgt>
                                        </p:tgtEl>
                                        <p:attrNameLst>
                                          <p:attrName>style.visibility</p:attrName>
                                        </p:attrNameLst>
                                      </p:cBhvr>
                                      <p:to>
                                        <p:strVal val="visible"/>
                                      </p:to>
                                    </p:set>
                                    <p:animEffect transition="in" filter="fade">
                                      <p:cBhvr>
                                        <p:cTn id="7" dur="700"/>
                                        <p:tgtEl>
                                          <p:spTgt spid="159748">
                                            <p:txEl>
                                              <p:pRg st="0" end="0"/>
                                            </p:txEl>
                                          </p:spTgt>
                                        </p:tgtEl>
                                      </p:cBhvr>
                                    </p:animEffect>
                                  </p:childTnLst>
                                </p:cTn>
                              </p:par>
                              <p:par>
                                <p:cTn id="8" presetID="10" presetClass="entr" presetSubtype="0" fill="hold" grpId="0" nodeType="withEffect">
                                  <p:stCondLst>
                                    <p:cond delay="1000"/>
                                  </p:stCondLst>
                                  <p:iterate>
                                    <p:tmPct val="10000"/>
                                  </p:iterate>
                                  <p:childTnLst>
                                    <p:set>
                                      <p:cBhvr>
                                        <p:cTn id="9" dur="1" fill="hold">
                                          <p:stCondLst>
                                            <p:cond delay="0"/>
                                          </p:stCondLst>
                                        </p:cTn>
                                        <p:tgtEl>
                                          <p:spTgt spid="159746"/>
                                        </p:tgtEl>
                                        <p:attrNameLst>
                                          <p:attrName>style.visibility</p:attrName>
                                        </p:attrNameLst>
                                      </p:cBhvr>
                                      <p:to>
                                        <p:strVal val="visible"/>
                                      </p:to>
                                    </p:set>
                                    <p:animEffect transition="in" filter="fade">
                                      <p:cBhvr>
                                        <p:cTn id="10" dur="700"/>
                                        <p:tgtEl>
                                          <p:spTgt spid="1597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9746" grpId="0"/>
      <p:bldP spid="159748" grpId="0" build="p"/>
    </p:bldLst>
  </p:timing>
</p:sld>
</file>

<file path=ppt/slides/slide9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05826" name="Rectangle 2"/>
          <p:cNvSpPr>
            <a:spLocks noRot="1" noChangeArrowheads="1"/>
          </p:cNvSpPr>
          <p:nvPr/>
        </p:nvSpPr>
        <p:spPr bwMode="auto">
          <a:xfrm>
            <a:off x="1981200" y="274638"/>
            <a:ext cx="8229600" cy="850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fr-FR" sz="2800">
              <a:solidFill>
                <a:schemeClr val="tx2"/>
              </a:solidFill>
              <a:latin typeface="Arial" charset="0"/>
              <a:cs typeface="Arial" charset="0"/>
            </a:endParaRPr>
          </a:p>
        </p:txBody>
      </p:sp>
      <p:sp>
        <p:nvSpPr>
          <p:cNvPr id="205827" name="Titre 2"/>
          <p:cNvSpPr>
            <a:spLocks noGrp="1"/>
          </p:cNvSpPr>
          <p:nvPr>
            <p:ph type="title" idx="4294967295"/>
          </p:nvPr>
        </p:nvSpPr>
        <p:spPr>
          <a:xfrm>
            <a:off x="1442301" y="0"/>
            <a:ext cx="10749699" cy="836613"/>
          </a:xfrm>
        </p:spPr>
        <p:txBody>
          <a:bodyPr>
            <a:normAutofit/>
          </a:bodyPr>
          <a:lstStyle/>
          <a:p>
            <a:r>
              <a:rPr lang="fr-FR" sz="4000" dirty="0">
                <a:solidFill>
                  <a:schemeClr val="tx1"/>
                </a:solidFill>
                <a:effectLst>
                  <a:outerShdw blurRad="38100" dist="38100" dir="2700000" algn="tl">
                    <a:srgbClr val="C0C0C0"/>
                  </a:outerShdw>
                </a:effectLst>
              </a:rPr>
              <a:t>CSR : ressources arrangement and synergies</a:t>
            </a:r>
          </a:p>
        </p:txBody>
      </p:sp>
      <p:pic>
        <p:nvPicPr>
          <p:cNvPr id="205828" name="Picture 4" descr="opnca2011-2005lio00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84648" y="1143586"/>
            <a:ext cx="3517900" cy="2344737"/>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205829" name="Picture 5" descr="opnca2011-2005lio00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40464" y="1113927"/>
            <a:ext cx="3527425" cy="2351088"/>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205830" name="Picture 6" descr="logo_edf_hp"/>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43441" y="6092725"/>
            <a:ext cx="61595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831" name="Picture 7" descr="7E8De56q8M7NzEu-mai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80066" y="6021288"/>
            <a:ext cx="1008062" cy="709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832" name="Picture 8" descr="lervinqueur_1111263021_logo_peugeot"/>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75467" y="6021289"/>
            <a:ext cx="719137"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833" name="Picture 9" descr="1239285240_logo%20nice%20cote%20azu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83527" y="6021289"/>
            <a:ext cx="763549" cy="709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Image 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84648" y="3623660"/>
            <a:ext cx="3517900" cy="2343463"/>
          </a:xfrm>
          <a:prstGeom prst="rect">
            <a:avLst/>
          </a:prstGeom>
        </p:spPr>
      </p:pic>
      <p:pic>
        <p:nvPicPr>
          <p:cNvPr id="3" name="Imag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40463" y="3623659"/>
            <a:ext cx="3527425" cy="2349808"/>
          </a:xfrm>
          <a:prstGeom prst="rect">
            <a:avLst/>
          </a:prstGeom>
        </p:spPr>
      </p:pic>
    </p:spTree>
    <p:extLst>
      <p:ext uri="{BB962C8B-B14F-4D97-AF65-F5344CB8AC3E}">
        <p14:creationId xmlns:p14="http://schemas.microsoft.com/office/powerpoint/2010/main" val="18716847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162818" name="Rectangle 2"/>
          <p:cNvSpPr>
            <a:spLocks noGrp="1" noChangeArrowheads="1"/>
          </p:cNvSpPr>
          <p:nvPr>
            <p:ph type="title"/>
          </p:nvPr>
        </p:nvSpPr>
        <p:spPr>
          <a:xfrm>
            <a:off x="762001" y="803325"/>
            <a:ext cx="5314536" cy="1325563"/>
          </a:xfrm>
        </p:spPr>
        <p:txBody>
          <a:bodyPr>
            <a:normAutofit/>
          </a:bodyPr>
          <a:lstStyle/>
          <a:p>
            <a:pPr eaLnBrk="1" hangingPunct="1">
              <a:defRPr/>
            </a:pPr>
            <a:r>
              <a:rPr lang="fr-FR" b="1"/>
              <a:t>Solutions :</a:t>
            </a:r>
          </a:p>
        </p:txBody>
      </p:sp>
      <p:sp>
        <p:nvSpPr>
          <p:cNvPr id="162827" name="Freeform: Shape 162826">
            <a:extLst>
              <a:ext uri="{FF2B5EF4-FFF2-40B4-BE49-F238E27FC236}">
                <a16:creationId xmlns:a16="http://schemas.microsoft.com/office/drawing/2014/main" id="{CF62D2A7-8207-488C-9F46-316BA81A16C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582780" y="-2008"/>
            <a:ext cx="5609220" cy="5840278"/>
          </a:xfrm>
          <a:custGeom>
            <a:avLst/>
            <a:gdLst>
              <a:gd name="connsiteX0" fmla="*/ 0 w 5609220"/>
              <a:gd name="connsiteY0" fmla="*/ 0 h 5840278"/>
              <a:gd name="connsiteX1" fmla="*/ 4637091 w 5609220"/>
              <a:gd name="connsiteY1" fmla="*/ 0 h 5840278"/>
              <a:gd name="connsiteX2" fmla="*/ 4822569 w 5609220"/>
              <a:gd name="connsiteY2" fmla="*/ 204077 h 5840278"/>
              <a:gd name="connsiteX3" fmla="*/ 5609220 w 5609220"/>
              <a:gd name="connsiteY3" fmla="*/ 2395363 h 5840278"/>
              <a:gd name="connsiteX4" fmla="*/ 2164305 w 5609220"/>
              <a:gd name="connsiteY4" fmla="*/ 5840278 h 5840278"/>
              <a:gd name="connsiteX5" fmla="*/ 238220 w 5609220"/>
              <a:gd name="connsiteY5" fmla="*/ 5251941 h 5840278"/>
              <a:gd name="connsiteX6" fmla="*/ 0 w 5609220"/>
              <a:gd name="connsiteY6" fmla="*/ 5073803 h 584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9220" h="5840278">
                <a:moveTo>
                  <a:pt x="0" y="0"/>
                </a:moveTo>
                <a:lnTo>
                  <a:pt x="4637091" y="0"/>
                </a:lnTo>
                <a:lnTo>
                  <a:pt x="4822569" y="204077"/>
                </a:lnTo>
                <a:cubicBezTo>
                  <a:pt x="5314007" y="799562"/>
                  <a:pt x="5609220" y="1562987"/>
                  <a:pt x="5609220" y="2395363"/>
                </a:cubicBezTo>
                <a:cubicBezTo>
                  <a:pt x="5609220" y="4297937"/>
                  <a:pt x="4066879" y="5840278"/>
                  <a:pt x="2164305" y="5840278"/>
                </a:cubicBezTo>
                <a:cubicBezTo>
                  <a:pt x="1450840" y="5840278"/>
                  <a:pt x="788032" y="5623387"/>
                  <a:pt x="238220" y="5251941"/>
                </a:cubicBezTo>
                <a:lnTo>
                  <a:pt x="0" y="5073803"/>
                </a:ln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2823" name="Picture 162822">
            <a:extLst>
              <a:ext uri="{FF2B5EF4-FFF2-40B4-BE49-F238E27FC236}">
                <a16:creationId xmlns:a16="http://schemas.microsoft.com/office/drawing/2014/main" id="{EF526BF3-DD78-8136-FF50-4D8028A0A252}"/>
              </a:ext>
            </a:extLst>
          </p:cNvPr>
          <p:cNvPicPr>
            <a:picLocks noChangeAspect="1"/>
          </p:cNvPicPr>
          <p:nvPr/>
        </p:nvPicPr>
        <p:blipFill rotWithShape="1">
          <a:blip r:embed="rId2"/>
          <a:srcRect l="30898" r="14971"/>
          <a:stretch/>
        </p:blipFill>
        <p:spPr>
          <a:xfrm>
            <a:off x="6750141" y="-2"/>
            <a:ext cx="5441859" cy="5654940"/>
          </a:xfrm>
          <a:custGeom>
            <a:avLst/>
            <a:gdLst/>
            <a:ahLst/>
            <a:cxnLst/>
            <a:rect l="l" t="t" r="r" b="b"/>
            <a:pathLst>
              <a:path w="5441859" h="5654940">
                <a:moveTo>
                  <a:pt x="1041368" y="0"/>
                </a:moveTo>
                <a:lnTo>
                  <a:pt x="5441859" y="0"/>
                </a:lnTo>
                <a:lnTo>
                  <a:pt x="5441859" y="4820612"/>
                </a:lnTo>
                <a:lnTo>
                  <a:pt x="5285166" y="4957981"/>
                </a:lnTo>
                <a:cubicBezTo>
                  <a:pt x="4729628" y="5394557"/>
                  <a:pt x="4029081" y="5654940"/>
                  <a:pt x="3267719" y="5654940"/>
                </a:cubicBezTo>
                <a:cubicBezTo>
                  <a:pt x="1463008" y="5654940"/>
                  <a:pt x="0" y="4191932"/>
                  <a:pt x="0" y="2387221"/>
                </a:cubicBezTo>
                <a:cubicBezTo>
                  <a:pt x="0" y="1484866"/>
                  <a:pt x="365752" y="667936"/>
                  <a:pt x="957093" y="76595"/>
                </a:cubicBezTo>
                <a:close/>
              </a:path>
            </a:pathLst>
          </a:custGeom>
        </p:spPr>
      </p:pic>
      <p:graphicFrame>
        <p:nvGraphicFramePr>
          <p:cNvPr id="162821" name="Rectangle 3">
            <a:extLst>
              <a:ext uri="{FF2B5EF4-FFF2-40B4-BE49-F238E27FC236}">
                <a16:creationId xmlns:a16="http://schemas.microsoft.com/office/drawing/2014/main" id="{142498E1-8202-43F3-ABD4-36DDB2BFCAEF}"/>
              </a:ext>
            </a:extLst>
          </p:cNvPr>
          <p:cNvGraphicFramePr>
            <a:graphicFrameLocks noGrp="1"/>
          </p:cNvGraphicFramePr>
          <p:nvPr>
            <p:ph idx="1"/>
            <p:extLst>
              <p:ext uri="{D42A27DB-BD31-4B8C-83A1-F6EECF244321}">
                <p14:modId xmlns:p14="http://schemas.microsoft.com/office/powerpoint/2010/main" val="3255497975"/>
              </p:ext>
            </p:extLst>
          </p:nvPr>
        </p:nvGraphicFramePr>
        <p:xfrm>
          <a:off x="762000" y="2279018"/>
          <a:ext cx="5314543" cy="33759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11095800"/>
      </p:ext>
    </p:extLst>
  </p:cSld>
  <p:clrMapOvr>
    <a:overrideClrMapping bg1="dk1" tx1="lt1" bg2="dk2" tx2="lt2" accent1="accent1" accent2="accent2" accent3="accent3" accent4="accent4" accent5="accent5" accent6="accent6" hlink="hlink" folHlink="folHlink"/>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8" name="Picture 14" descr="Tourist Board Sports Sponsorships Down 70% Despite Travel Returning –  Sportico.com">
            <a:extLst>
              <a:ext uri="{FF2B5EF4-FFF2-40B4-BE49-F238E27FC236}">
                <a16:creationId xmlns:a16="http://schemas.microsoft.com/office/drawing/2014/main" id="{811C8ECE-8E27-0086-52A4-EB9217F5DE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2938" y="674688"/>
            <a:ext cx="3914775" cy="2173288"/>
          </a:xfrm>
          <a:prstGeom prst="rect">
            <a:avLst/>
          </a:prstGeom>
          <a:extLst>
            <a:ext uri="{909E8E84-426E-40DD-AFC4-6F175D3DCCD1}">
              <a14:hiddenFill xmlns:a14="http://schemas.microsoft.com/office/drawing/2010/main">
                <a:solidFill>
                  <a:srgbClr val="FFFFFF"/>
                </a:solidFill>
              </a14:hiddenFill>
            </a:ext>
          </a:extLst>
        </p:spPr>
      </p:pic>
      <p:pic>
        <p:nvPicPr>
          <p:cNvPr id="1030" name="Picture 6" descr="Visit Saudi partners with Spanish LaLiga as global sponsor | Arab News">
            <a:extLst>
              <a:ext uri="{FF2B5EF4-FFF2-40B4-BE49-F238E27FC236}">
                <a16:creationId xmlns:a16="http://schemas.microsoft.com/office/drawing/2014/main" id="{178B592E-7F9B-4D0E-E1D5-E9D35083C4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2938" y="2914650"/>
            <a:ext cx="3914775" cy="3267075"/>
          </a:xfrm>
          <a:prstGeom prst="rect">
            <a:avLst/>
          </a:prstGeom>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C52ACD4A-77B4-D0B1-5B95-936D9A49AC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25975" y="674688"/>
            <a:ext cx="2060575" cy="2771775"/>
          </a:xfrm>
          <a:prstGeom prst="rect">
            <a:avLst/>
          </a:prstGeom>
          <a:extLst>
            <a:ext uri="{909E8E84-426E-40DD-AFC4-6F175D3DCCD1}">
              <a14:hiddenFill xmlns:a14="http://schemas.microsoft.com/office/drawing/2010/main">
                <a:solidFill>
                  <a:srgbClr val="FFFFFF"/>
                </a:solidFill>
              </a14:hiddenFill>
            </a:ext>
          </a:extLst>
        </p:spPr>
      </p:pic>
      <p:pic>
        <p:nvPicPr>
          <p:cNvPr id="1044" name="Picture 20" descr="Promotion Côte-d'Ivoire : « Sublime Côte d'Ivoire », nouveau partenaire de  l'OM | Sport-ivoire.ci">
            <a:extLst>
              <a:ext uri="{FF2B5EF4-FFF2-40B4-BE49-F238E27FC236}">
                <a16:creationId xmlns:a16="http://schemas.microsoft.com/office/drawing/2014/main" id="{FE97A836-4D03-E0C8-5CA0-5BAB42138C1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25975" y="3513138"/>
            <a:ext cx="2060575" cy="1292225"/>
          </a:xfrm>
          <a:prstGeom prst="rect">
            <a:avLst/>
          </a:prstGeom>
          <a:extLst>
            <a:ext uri="{909E8E84-426E-40DD-AFC4-6F175D3DCCD1}">
              <a14:hiddenFill xmlns:a14="http://schemas.microsoft.com/office/drawing/2010/main">
                <a:solidFill>
                  <a:srgbClr val="FFFFFF"/>
                </a:solidFill>
              </a14:hiddenFill>
            </a:ext>
          </a:extLst>
        </p:spPr>
      </p:pic>
      <p:pic>
        <p:nvPicPr>
          <p:cNvPr id="1034" name="Picture 10" descr="UAE Tour: Tour de France champion Pogacar to lead UAE Team Emirates  challenge | Uae-sport – Gulf News">
            <a:extLst>
              <a:ext uri="{FF2B5EF4-FFF2-40B4-BE49-F238E27FC236}">
                <a16:creationId xmlns:a16="http://schemas.microsoft.com/office/drawing/2014/main" id="{847D2110-EDC5-B27B-45F8-6D1ABF962EB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53225" y="674688"/>
            <a:ext cx="3130550" cy="2330450"/>
          </a:xfrm>
          <a:prstGeom prst="rect">
            <a:avLst/>
          </a:prstGeom>
          <a:extLst>
            <a:ext uri="{909E8E84-426E-40DD-AFC4-6F175D3DCCD1}">
              <a14:hiddenFill xmlns:a14="http://schemas.microsoft.com/office/drawing/2010/main">
                <a:solidFill>
                  <a:srgbClr val="FFFFFF"/>
                </a:solidFill>
              </a14:hiddenFill>
            </a:ext>
          </a:extLst>
        </p:spPr>
      </p:pic>
      <p:pic>
        <p:nvPicPr>
          <p:cNvPr id="1026" name="Picture 2" descr="Entre le Rwanda et le Paris Saint-Germain, plus qu'un partenariat | Paris  Saint-Germain">
            <a:extLst>
              <a:ext uri="{FF2B5EF4-FFF2-40B4-BE49-F238E27FC236}">
                <a16:creationId xmlns:a16="http://schemas.microsoft.com/office/drawing/2014/main" id="{1C87DC68-A110-8B13-901A-442F635C7CC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53225" y="3071813"/>
            <a:ext cx="3130550" cy="1731963"/>
          </a:xfrm>
          <a:prstGeom prst="rect">
            <a:avLst/>
          </a:prstGeom>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18FBD009-6DB6-62EF-7FE8-3BAB56098F6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25975" y="4872038"/>
            <a:ext cx="2390775" cy="1309688"/>
          </a:xfrm>
          <a:prstGeom prst="rect">
            <a:avLst/>
          </a:prstGeom>
          <a:extLst>
            <a:ext uri="{909E8E84-426E-40DD-AFC4-6F175D3DCCD1}">
              <a14:hiddenFill xmlns:a14="http://schemas.microsoft.com/office/drawing/2010/main">
                <a:solidFill>
                  <a:srgbClr val="FFFFFF"/>
                </a:solidFill>
              </a14:hiddenFill>
            </a:ext>
          </a:extLst>
        </p:spPr>
      </p:pic>
      <p:pic>
        <p:nvPicPr>
          <p:cNvPr id="9" name="Image 8">
            <a:extLst>
              <a:ext uri="{FF2B5EF4-FFF2-40B4-BE49-F238E27FC236}">
                <a16:creationId xmlns:a16="http://schemas.microsoft.com/office/drawing/2014/main" id="{88D58CED-7EEE-4224-879E-391565E544F1}"/>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r="-3" b="12697"/>
          <a:stretch/>
        </p:blipFill>
        <p:spPr>
          <a:xfrm>
            <a:off x="7083425" y="4872038"/>
            <a:ext cx="2800350" cy="1309688"/>
          </a:xfrm>
          <a:prstGeom prst="rect">
            <a:avLst/>
          </a:prstGeom>
        </p:spPr>
      </p:pic>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316" name="Picture 4" descr="Grand Prix de France F1 - 🇫🇷 Le Grand Prix de France aura lieu du 22 au  24 juillet 2022 ! 🇫🇷 😍 Nouvelle édition, nouvelle affiche ! On a hâte de">
            <a:extLst>
              <a:ext uri="{FF2B5EF4-FFF2-40B4-BE49-F238E27FC236}">
                <a16:creationId xmlns:a16="http://schemas.microsoft.com/office/drawing/2014/main" id="{A9351ADF-12EF-72D6-A8D9-44F7268AD768}"/>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43467" y="783167"/>
            <a:ext cx="5291666" cy="5291666"/>
          </a:xfrm>
          <a:prstGeom prst="rect">
            <a:avLst/>
          </a:prstGeom>
          <a:noFill/>
          <a:extLst>
            <a:ext uri="{909E8E84-426E-40DD-AFC4-6F175D3DCCD1}">
              <a14:hiddenFill xmlns:a14="http://schemas.microsoft.com/office/drawing/2010/main">
                <a:solidFill>
                  <a:srgbClr val="FFFFFF"/>
                </a:solidFill>
              </a14:hiddenFill>
            </a:ext>
          </a:extLst>
        </p:spPr>
      </p:pic>
      <p:pic>
        <p:nvPicPr>
          <p:cNvPr id="13314" name="Picture 2" descr="Tout savoir sur le Vendée Globe 2020 - Maritima Courtage">
            <a:extLst>
              <a:ext uri="{FF2B5EF4-FFF2-40B4-BE49-F238E27FC236}">
                <a16:creationId xmlns:a16="http://schemas.microsoft.com/office/drawing/2014/main" id="{1D7FFE7B-FD87-B93B-D176-3348879B9A81}"/>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256865" y="1447179"/>
            <a:ext cx="5291667" cy="39636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85468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3.xml><?xml version="1.0" encoding="utf-8"?>
<p:tagLst xmlns:a="http://schemas.openxmlformats.org/drawingml/2006/main" xmlns:r="http://schemas.openxmlformats.org/officeDocument/2006/relationships" xmlns:p="http://schemas.openxmlformats.org/presentationml/2006/main">
  <p:tag name="SMARTDIVIDERTYPE" val="Section"/>
  <p:tag name="UNLOCK SHAPES" val="NO"/>
  <p:tag name="SMARTDIVIDERTEXT" val="Section"/>
  <p:tag name="SMARTDIVIDERLEVEL" val="0"/>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GRID" val="Yes"/>
  <p:tag name="SMARTLOCKSHAPE" val="YES"/>
</p:tagLst>
</file>

<file path=ppt/tags/tag1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8.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9.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2.xml><?xml version="1.0" encoding="utf-8"?>
<p:tagLst xmlns:a="http://schemas.openxmlformats.org/drawingml/2006/main" xmlns:r="http://schemas.openxmlformats.org/officeDocument/2006/relationships" xmlns:p="http://schemas.openxmlformats.org/presentationml/2006/main">
  <p:tag name="FULLLENGTH" val="True"/>
</p:tagLst>
</file>

<file path=ppt/tags/tag20.xml><?xml version="1.0" encoding="utf-8"?>
<p:tagLst xmlns:a="http://schemas.openxmlformats.org/drawingml/2006/main" xmlns:r="http://schemas.openxmlformats.org/officeDocument/2006/relationships" xmlns:p="http://schemas.openxmlformats.org/presentationml/2006/main">
  <p:tag name="SMARTDIVIDERTYPE" val="Section"/>
  <p:tag name="UNLOCK SHAPES" val="NO"/>
  <p:tag name="SMARTDIVIDERTEXT" val="Section"/>
  <p:tag name="SMARTDIVIDERLEVEL" val="0"/>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GRID" val="Yes"/>
  <p:tag name="SMARTLOCKSHAPE" val="YES"/>
</p:tagLst>
</file>

<file path=ppt/tags/tag2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5.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6.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27.xml><?xml version="1.0" encoding="utf-8"?>
<p:tagLst xmlns:a="http://schemas.openxmlformats.org/drawingml/2006/main" xmlns:r="http://schemas.openxmlformats.org/officeDocument/2006/relationships" xmlns:p="http://schemas.openxmlformats.org/presentationml/2006/main">
  <p:tag name="SMARTDIVIDERTYPE" val="Section"/>
  <p:tag name="UNLOCK SHAPES" val="NO"/>
  <p:tag name="SMARTDIVIDERTEXT" val="Section"/>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GRID" val="Yes"/>
  <p:tag name="SMARTLOCKSHAPE" val="YES"/>
</p:tagLst>
</file>

<file path=ppt/tags/tag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3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2.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33.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34.xml><?xml version="1.0" encoding="utf-8"?>
<p:tagLst xmlns:a="http://schemas.openxmlformats.org/drawingml/2006/main" xmlns:r="http://schemas.openxmlformats.org/officeDocument/2006/relationships" xmlns:p="http://schemas.openxmlformats.org/presentationml/2006/main">
  <p:tag name="SMARTDIVIDERTYPE" val="Section"/>
  <p:tag name="UNLOCK SHAPES" val="NO"/>
  <p:tag name="SMARTDIVIDERTEXT" val="Section"/>
  <p:tag name="SMARTDIVIDERLEVEL" val="0"/>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GRID" val="Yes"/>
  <p:tag name="SMARTLOCKSHAPE" val="YES"/>
</p:tagLst>
</file>

<file path=ppt/tags/tag3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9.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40.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heme/theme1.xml><?xml version="1.0" encoding="utf-8"?>
<a:theme xmlns:a="http://schemas.openxmlformats.org/drawingml/2006/main" name="Brin">
  <a:themeElements>
    <a:clrScheme name="Wisp">
      <a:dk1>
        <a:sysClr val="windowText" lastClr="000000"/>
      </a:dk1>
      <a:lt1>
        <a:sysClr val="window" lastClr="FFFFFF"/>
      </a:lt1>
      <a:dk2>
        <a:srgbClr val="2E5369"/>
      </a:dk2>
      <a:lt2>
        <a:srgbClr val="CFE2E7"/>
      </a:lt2>
      <a:accent1>
        <a:srgbClr val="353535"/>
      </a:accent1>
      <a:accent2>
        <a:srgbClr val="31B4E6"/>
      </a:accent2>
      <a:accent3>
        <a:srgbClr val="265991"/>
      </a:accent3>
      <a:accent4>
        <a:srgbClr val="7E40CC"/>
      </a:accent4>
      <a:accent5>
        <a:srgbClr val="B927E9"/>
      </a:accent5>
      <a:accent6>
        <a:srgbClr val="E833BF"/>
      </a:accent6>
      <a:hlink>
        <a:srgbClr val="2DA0F1"/>
      </a:hlink>
      <a:folHlink>
        <a:srgbClr val="7ED1E6"/>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4F34B87B-9C7A-41AE-A6CB-48536223DFFD}"/>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TotalTime>
  <Words>3470</Words>
  <Application>Microsoft Office PowerPoint</Application>
  <PresentationFormat>Grand écran</PresentationFormat>
  <Paragraphs>593</Paragraphs>
  <Slides>103</Slides>
  <Notes>5</Notes>
  <HiddenSlides>0</HiddenSlides>
  <MMClips>16</MMClips>
  <ScaleCrop>false</ScaleCrop>
  <HeadingPairs>
    <vt:vector size="8" baseType="variant">
      <vt:variant>
        <vt:lpstr>Polices utilisées</vt:lpstr>
      </vt:variant>
      <vt:variant>
        <vt:i4>14</vt:i4>
      </vt:variant>
      <vt:variant>
        <vt:lpstr>Thème</vt:lpstr>
      </vt:variant>
      <vt:variant>
        <vt:i4>2</vt:i4>
      </vt:variant>
      <vt:variant>
        <vt:lpstr>Serveurs OLE incorporés</vt:lpstr>
      </vt:variant>
      <vt:variant>
        <vt:i4>2</vt:i4>
      </vt:variant>
      <vt:variant>
        <vt:lpstr>Titres des diapositives</vt:lpstr>
      </vt:variant>
      <vt:variant>
        <vt:i4>103</vt:i4>
      </vt:variant>
    </vt:vector>
  </HeadingPairs>
  <TitlesOfParts>
    <vt:vector size="121" baseType="lpstr">
      <vt:lpstr>Aharoni</vt:lpstr>
      <vt:lpstr>Arial</vt:lpstr>
      <vt:lpstr>Arial Black</vt:lpstr>
      <vt:lpstr>Calibri</vt:lpstr>
      <vt:lpstr>Calibri Light</vt:lpstr>
      <vt:lpstr>Century Gothic</vt:lpstr>
      <vt:lpstr>Century Schoolbook</vt:lpstr>
      <vt:lpstr>Courier New</vt:lpstr>
      <vt:lpstr>Freestyle Script</vt:lpstr>
      <vt:lpstr>Garamond</vt:lpstr>
      <vt:lpstr>Georgia</vt:lpstr>
      <vt:lpstr>Tahoma</vt:lpstr>
      <vt:lpstr>Wingdings</vt:lpstr>
      <vt:lpstr>Wingdings 3</vt:lpstr>
      <vt:lpstr>Brin</vt:lpstr>
      <vt:lpstr>Thème Office</vt:lpstr>
      <vt:lpstr>think-cell Slide</vt:lpstr>
      <vt:lpstr>Document</vt:lpstr>
      <vt:lpstr>Commercial Business Strategies in Sport Organisations  lionelmaltese.fr  @lionelmaltese</vt:lpstr>
      <vt:lpstr>Présentation PowerPoint</vt:lpstr>
      <vt:lpstr>Présentation PowerPoint</vt:lpstr>
      <vt:lpstr>Présentation PowerPoint</vt:lpstr>
      <vt:lpstr>Présentation PowerPoint</vt:lpstr>
      <vt:lpstr>Présentation PowerPoint</vt:lpstr>
      <vt:lpstr>Présentation PowerPoint</vt:lpstr>
      <vt:lpstr>Our goals</vt:lpstr>
      <vt:lpstr>Présentation PowerPoint</vt:lpstr>
      <vt:lpstr>Présentation PowerPoint</vt:lpstr>
      <vt:lpstr>PSG’s commercial strategy Jean Claude Blanc</vt:lpstr>
      <vt:lpstr>NOW TRENDING IN THE SPONSORSHIP WORLD</vt:lpstr>
      <vt:lpstr>Storytelling / storyliving ? Endorsement &amp; Sponsorship</vt:lpstr>
      <vt:lpstr>Présentation PowerPoint</vt:lpstr>
      <vt:lpstr>THE FUTURE OF DIGITAL SPORTS CONSUMPTION  – % of sports content via PC/Laptop or Mobile/Tablet</vt:lpstr>
      <vt:lpstr>Présentation PowerPoint</vt:lpstr>
      <vt:lpstr>Is live dying of a slow death…?</vt:lpstr>
      <vt:lpstr>Présentation PowerPoint</vt:lpstr>
      <vt:lpstr>Key trends: what is the market telling us? Overall state of the industry: key threats</vt:lpstr>
      <vt:lpstr>Annual growth rate by revenue stream in next 3-5 years </vt:lpstr>
      <vt:lpstr>SPONSORSHIP SALES – Sector stabilisation returns</vt:lpstr>
      <vt:lpstr>Key trends: what is the market telling us? Overall state of the industry: key threats</vt:lpstr>
      <vt:lpstr>Présentation PowerPoint</vt:lpstr>
      <vt:lpstr>Présentation PowerPoint</vt:lpstr>
      <vt:lpstr>Présentation PowerPoint</vt:lpstr>
      <vt:lpstr>Présentation PowerPoint</vt:lpstr>
      <vt:lpstr>Présentation PowerPoint</vt:lpstr>
      <vt:lpstr>Présentation PowerPoint</vt:lpstr>
      <vt:lpstr>Sponsors goals</vt:lpstr>
      <vt:lpstr>Présentation PowerPoint</vt:lpstr>
      <vt:lpstr>Definition</vt:lpstr>
      <vt:lpstr>Présentation PowerPoint</vt:lpstr>
      <vt:lpstr>Sponsorship strategic approaches</vt:lpstr>
      <vt:lpstr>Présentation PowerPoint</vt:lpstr>
      <vt:lpstr>In the real world</vt:lpstr>
      <vt:lpstr>Présentation PowerPoint</vt:lpstr>
      <vt:lpstr>Mega event &amp; the rest</vt:lpstr>
      <vt:lpstr>Make the difference </vt:lpstr>
      <vt:lpstr>The Place to leverage and activate </vt:lpstr>
      <vt:lpstr>Présentation PowerPoint</vt:lpstr>
      <vt:lpstr>Présentation PowerPoint</vt:lpstr>
      <vt:lpstr>Présentation PowerPoint</vt:lpstr>
      <vt:lpstr>Promotional strategy</vt:lpstr>
      <vt:lpstr>Activation axis</vt:lpstr>
      <vt:lpstr>Activation tools</vt:lpstr>
      <vt:lpstr>SPORSORSHIP ACTIVATIONS MODEL  V R E E </vt:lpstr>
      <vt:lpstr>So what ? How to Implement ?</vt:lpstr>
      <vt:lpstr>Agencies… or not !</vt:lpstr>
      <vt:lpstr>Présentation PowerPoint</vt:lpstr>
      <vt:lpstr>Activation program process</vt:lpstr>
      <vt:lpstr>Value Proposition and Activation Platform </vt:lpstr>
      <vt:lpstr>CEO personnality « passion » activation</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Key points to analyse your future sponsor</vt:lpstr>
      <vt:lpstr>Sponsorship 3.0 : BNP Paribas </vt:lpstr>
      <vt:lpstr>Présentation PowerPoint</vt:lpstr>
      <vt:lpstr>Présentation PowerPoint</vt:lpstr>
      <vt:lpstr>Activation Plan / Program to create your offer </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Opportunism  or  Pragmatism ? </vt:lpstr>
      <vt:lpstr>Présentation PowerPoint</vt:lpstr>
      <vt:lpstr>CAUSE RELATED MARKETING</vt:lpstr>
      <vt:lpstr>Ethical Corporate Responsibility (Babiak &amp; Wolfe, 2006)</vt:lpstr>
      <vt:lpstr>Discretionary Corporate Responsibility (Babiak &amp; Wolfe, 2006)</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ocess</vt:lpstr>
      <vt:lpstr>The core objective : create sponsors network = cross partnership</vt:lpstr>
      <vt:lpstr>CSR : ressources arrangement and synergies</vt:lpstr>
      <vt:lpstr>Solutions :</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ercial Business Strategies in Sport Organisations  lionelmaltese.fr  @lionelmaltese</dc:title>
  <dc:creator>Lionel Maltese</dc:creator>
  <cp:lastModifiedBy>Lionel Maltese</cp:lastModifiedBy>
  <cp:revision>40</cp:revision>
  <dcterms:created xsi:type="dcterms:W3CDTF">2019-09-22T06:40:19Z</dcterms:created>
  <dcterms:modified xsi:type="dcterms:W3CDTF">2023-08-29T09:55:23Z</dcterms:modified>
</cp:coreProperties>
</file>